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  <p:sldMasterId id="2147483703" r:id="rId2"/>
  </p:sldMasterIdLst>
  <p:notesMasterIdLst>
    <p:notesMasterId r:id="rId18"/>
  </p:notesMasterIdLst>
  <p:handoutMasterIdLst>
    <p:handoutMasterId r:id="rId19"/>
  </p:handoutMasterIdLst>
  <p:sldIdLst>
    <p:sldId id="302" r:id="rId3"/>
    <p:sldId id="533" r:id="rId4"/>
    <p:sldId id="535" r:id="rId5"/>
    <p:sldId id="531" r:id="rId6"/>
    <p:sldId id="514" r:id="rId7"/>
    <p:sldId id="532" r:id="rId8"/>
    <p:sldId id="516" r:id="rId9"/>
    <p:sldId id="523" r:id="rId10"/>
    <p:sldId id="525" r:id="rId11"/>
    <p:sldId id="526" r:id="rId12"/>
    <p:sldId id="536" r:id="rId13"/>
    <p:sldId id="520" r:id="rId14"/>
    <p:sldId id="521" r:id="rId15"/>
    <p:sldId id="522" r:id="rId16"/>
    <p:sldId id="484" r:id="rId17"/>
  </p:sldIdLst>
  <p:sldSz cx="9144000" cy="6858000" type="screen4x3"/>
  <p:notesSz cx="7010400" cy="9296400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15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0C5FA"/>
    <a:srgbClr val="85A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39" autoAdjust="0"/>
    <p:restoredTop sz="93785" autoAdjust="0"/>
  </p:normalViewPr>
  <p:slideViewPr>
    <p:cSldViewPr snapToGrid="0" snapToObjects="1">
      <p:cViewPr>
        <p:scale>
          <a:sx n="100" d="100"/>
          <a:sy n="100" d="100"/>
        </p:scale>
        <p:origin x="84" y="534"/>
      </p:cViewPr>
      <p:guideLst>
        <p:guide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7" d="100"/>
          <a:sy n="87" d="100"/>
        </p:scale>
        <p:origin x="-3780" y="-7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pivotSource>
    <c:name>[Chart in Microsoft PowerPoint]Sheet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  <c:dLbl>
          <c:idx val="0"/>
          <c:delete val="1"/>
        </c:dLbl>
      </c:pivotFmt>
      <c:pivotFmt>
        <c:idx val="3"/>
        <c:dLbl>
          <c:idx val="0"/>
          <c:delete val="1"/>
        </c:dLbl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3"/>
        <c:dLbl>
          <c:idx val="0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4"/>
      </c:pivotFmt>
      <c:pivotFmt>
        <c:idx val="15"/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  <c:spPr>
          <a:ln>
            <a:noFill/>
          </a:ln>
        </c:spPr>
        <c:marker>
          <c:symbol val="none"/>
        </c:marker>
      </c:pivotFmt>
      <c:pivotFmt>
        <c:idx val="27"/>
      </c:pivotFmt>
      <c:pivotFmt>
        <c:idx val="28"/>
      </c:pivotFmt>
      <c:pivotFmt>
        <c:idx val="29"/>
        <c:spPr>
          <a:ln>
            <a:noFill/>
          </a:ln>
        </c:spPr>
        <c:marker>
          <c:symbol val="none"/>
        </c:marker>
      </c:pivotFmt>
      <c:pivotFmt>
        <c:idx val="30"/>
        <c:dLbl>
          <c:idx val="0"/>
          <c:delete val="1"/>
        </c:dLbl>
      </c:pivotFmt>
      <c:pivotFmt>
        <c:idx val="31"/>
        <c:dLbl>
          <c:idx val="0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2"/>
        <c:spPr>
          <a:ln>
            <a:noFill/>
          </a:ln>
        </c:spPr>
        <c:marker>
          <c:symbol val="none"/>
        </c:marker>
      </c:pivotFmt>
      <c:pivotFmt>
        <c:idx val="33"/>
        <c:dLbl>
          <c:idx val="0"/>
          <c:delete val="1"/>
        </c:dLbl>
      </c:pivotFmt>
      <c:pivotFmt>
        <c:idx val="34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5"/>
        <c:spPr>
          <a:ln>
            <a:noFill/>
          </a:ln>
        </c:spPr>
        <c:marker>
          <c:symbol val="none"/>
        </c:marker>
      </c:pivotFmt>
      <c:pivotFmt>
        <c:idx val="36"/>
        <c:dLbl>
          <c:idx val="0"/>
          <c:delete val="1"/>
        </c:dLbl>
      </c:pivotFmt>
      <c:pivotFmt>
        <c:idx val="37"/>
        <c:dLbl>
          <c:idx val="0"/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8"/>
        <c:spPr>
          <a:ln>
            <a:noFill/>
          </a:ln>
        </c:spPr>
        <c:marker>
          <c:symbol val="none"/>
        </c:marker>
      </c:pivotFmt>
      <c:pivotFmt>
        <c:idx val="39"/>
        <c:dLbl>
          <c:idx val="0"/>
          <c:delete val="1"/>
        </c:dLbl>
      </c:pivotFmt>
      <c:pivotFmt>
        <c:idx val="40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41"/>
        <c:spPr>
          <a:ln>
            <a:noFill/>
          </a:ln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24597946199824813"/>
          <c:y val="3.7753503087528548E-2"/>
          <c:w val="0.71934284729157916"/>
          <c:h val="0.76543571006642019"/>
        </c:manualLayout>
      </c:layout>
      <c:lineChart>
        <c:grouping val="standard"/>
        <c:varyColors val="0"/>
        <c:ser>
          <c:idx val="0"/>
          <c:order val="0"/>
          <c:tx>
            <c:strRef>
              <c:f>Sheet3!$B$3:$B$5</c:f>
              <c:strCache>
                <c:ptCount val="1"/>
                <c:pt idx="0">
                  <c:v>CCA - % of membership</c:v>
                </c:pt>
              </c:strCache>
            </c:strRef>
          </c:tx>
          <c:spPr>
            <a:ln w="50800" cap="flat" cmpd="sng" algn="ctr">
              <a:solidFill>
                <a:srgbClr val="5E8BFF">
                  <a:shade val="50000"/>
                </a:srgbClr>
              </a:solidFill>
              <a:prstDash val="solid"/>
            </a:ln>
            <a:effectLst/>
          </c:spPr>
          <c:marker>
            <c:symbol val="diamond"/>
            <c:size val="11"/>
            <c:spPr>
              <a:solidFill>
                <a:srgbClr val="5E8BFF"/>
              </a:solidFill>
              <a:ln w="25400" cap="flat" cmpd="sng" algn="ctr">
                <a:solidFill>
                  <a:srgbClr val="5E8BFF">
                    <a:shade val="50000"/>
                  </a:srgbClr>
                </a:solidFill>
                <a:prstDash val="solid"/>
              </a:ln>
              <a:effectLst/>
            </c:spPr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B$6:$B$14</c:f>
              <c:numCache>
                <c:formatCode>0.00%</c:formatCode>
                <c:ptCount val="9"/>
                <c:pt idx="0">
                  <c:v>2.2073123298327498E-2</c:v>
                </c:pt>
                <c:pt idx="1">
                  <c:v>1.9924557500725408E-2</c:v>
                </c:pt>
                <c:pt idx="2">
                  <c:v>1.6292888633314167E-2</c:v>
                </c:pt>
                <c:pt idx="3">
                  <c:v>2.1254388461903407E-2</c:v>
                </c:pt>
                <c:pt idx="4">
                  <c:v>2.4890053335828576E-2</c:v>
                </c:pt>
                <c:pt idx="5">
                  <c:v>2.6350337584396099E-2</c:v>
                </c:pt>
                <c:pt idx="6">
                  <c:v>3.0420406235238544E-2</c:v>
                </c:pt>
                <c:pt idx="7">
                  <c:v>2.5387596899224808E-2</c:v>
                </c:pt>
                <c:pt idx="8">
                  <c:v>1.7717306186374314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3!$C$3:$C$5</c:f>
              <c:strCache>
                <c:ptCount val="1"/>
                <c:pt idx="0">
                  <c:v>CCA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C$6:$C$14</c:f>
              <c:numCache>
                <c:formatCode>0</c:formatCode>
                <c:ptCount val="9"/>
                <c:pt idx="0">
                  <c:v>227</c:v>
                </c:pt>
                <c:pt idx="1">
                  <c:v>206</c:v>
                </c:pt>
                <c:pt idx="2">
                  <c:v>170</c:v>
                </c:pt>
                <c:pt idx="3">
                  <c:v>224</c:v>
                </c:pt>
                <c:pt idx="4">
                  <c:v>266</c:v>
                </c:pt>
                <c:pt idx="5">
                  <c:v>281</c:v>
                </c:pt>
                <c:pt idx="6">
                  <c:v>322</c:v>
                </c:pt>
                <c:pt idx="7">
                  <c:v>262</c:v>
                </c:pt>
                <c:pt idx="8">
                  <c:v>18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3!$D$3:$D$5</c:f>
              <c:strCache>
                <c:ptCount val="1"/>
                <c:pt idx="0">
                  <c:v>TUFTS  - % of membership</c:v>
                </c:pt>
              </c:strCache>
            </c:strRef>
          </c:tx>
          <c:spPr>
            <a:ln w="50800" cap="flat" cmpd="sng" algn="ctr">
              <a:solidFill>
                <a:srgbClr val="FFCD33">
                  <a:shade val="50000"/>
                </a:srgbClr>
              </a:solidFill>
              <a:prstDash val="solid"/>
            </a:ln>
            <a:effectLst/>
          </c:spPr>
          <c:marker>
            <c:symbol val="triangle"/>
            <c:size val="11"/>
            <c:spPr>
              <a:solidFill>
                <a:srgbClr val="FFCD33"/>
              </a:solidFill>
              <a:ln w="25400" cap="flat" cmpd="sng" algn="ctr">
                <a:solidFill>
                  <a:srgbClr val="FFCD33">
                    <a:shade val="50000"/>
                  </a:srgbClr>
                </a:solidFill>
                <a:prstDash val="solid"/>
              </a:ln>
              <a:effectLst/>
            </c:spPr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D$6:$D$14</c:f>
              <c:numCache>
                <c:formatCode>0.00%</c:formatCode>
                <c:ptCount val="9"/>
                <c:pt idx="0">
                  <c:v>8.0558539205155752E-3</c:v>
                </c:pt>
                <c:pt idx="1">
                  <c:v>4.9180327868852463E-3</c:v>
                </c:pt>
                <c:pt idx="2">
                  <c:v>1.6102165463631316E-2</c:v>
                </c:pt>
                <c:pt idx="3">
                  <c:v>1.0221465076660987E-2</c:v>
                </c:pt>
                <c:pt idx="4">
                  <c:v>2.3441966838193252E-2</c:v>
                </c:pt>
                <c:pt idx="5">
                  <c:v>1.4199890770071E-2</c:v>
                </c:pt>
                <c:pt idx="6">
                  <c:v>1.7857142857142856E-2</c:v>
                </c:pt>
                <c:pt idx="7">
                  <c:v>1.5640273704789834E-2</c:v>
                </c:pt>
                <c:pt idx="8">
                  <c:v>1.2083131947800869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3!$E$3:$E$5</c:f>
              <c:strCache>
                <c:ptCount val="1"/>
                <c:pt idx="0">
                  <c:v>TUFTS 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E$6:$E$14</c:f>
              <c:numCache>
                <c:formatCode>0</c:formatCode>
                <c:ptCount val="9"/>
                <c:pt idx="0">
                  <c:v>15</c:v>
                </c:pt>
                <c:pt idx="1">
                  <c:v>9</c:v>
                </c:pt>
                <c:pt idx="2">
                  <c:v>29</c:v>
                </c:pt>
                <c:pt idx="3">
                  <c:v>18</c:v>
                </c:pt>
                <c:pt idx="4">
                  <c:v>41</c:v>
                </c:pt>
                <c:pt idx="5">
                  <c:v>26</c:v>
                </c:pt>
                <c:pt idx="6">
                  <c:v>37</c:v>
                </c:pt>
                <c:pt idx="7">
                  <c:v>32</c:v>
                </c:pt>
                <c:pt idx="8">
                  <c:v>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7641216"/>
        <c:axId val="83214336"/>
      </c:lineChart>
      <c:catAx>
        <c:axId val="77641216"/>
        <c:scaling>
          <c:orientation val="minMax"/>
        </c:scaling>
        <c:delete val="0"/>
        <c:axPos val="b"/>
        <c:majorTickMark val="none"/>
        <c:minorTickMark val="none"/>
        <c:tickLblPos val="nextTo"/>
        <c:crossAx val="83214336"/>
        <c:crosses val="autoZero"/>
        <c:auto val="1"/>
        <c:lblAlgn val="ctr"/>
        <c:lblOffset val="100"/>
        <c:noMultiLvlLbl val="0"/>
      </c:catAx>
      <c:valAx>
        <c:axId val="83214336"/>
        <c:scaling>
          <c:orientation val="minMax"/>
          <c:max val="5.000000000000001E-2"/>
          <c:min val="0"/>
        </c:scaling>
        <c:delete val="0"/>
        <c:axPos val="l"/>
        <c:majorGridlines/>
        <c:numFmt formatCode="0.00%" sourceLinked="1"/>
        <c:majorTickMark val="none"/>
        <c:minorTickMark val="none"/>
        <c:tickLblPos val="nextTo"/>
        <c:txPr>
          <a:bodyPr/>
          <a:lstStyle/>
          <a:p>
            <a:pPr>
              <a:defRPr sz="1100"/>
            </a:pPr>
            <a:endParaRPr lang="en-US"/>
          </a:p>
        </c:txPr>
        <c:crossAx val="77641216"/>
        <c:crosses val="autoZero"/>
        <c:crossBetween val="between"/>
      </c:valAx>
      <c:dTable>
        <c:showHorzBorder val="1"/>
        <c:showVertBorder val="1"/>
        <c:showOutline val="1"/>
        <c:showKeys val="0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 rtl="0">
              <a:defRPr sz="1100"/>
            </a:pPr>
            <a:endParaRPr lang="en-US"/>
          </a:p>
        </c:txPr>
      </c:dTable>
    </c:plotArea>
    <c:legend>
      <c:legendPos val="l"/>
      <c:legendEntry>
        <c:idx val="0"/>
        <c:txPr>
          <a:bodyPr/>
          <a:lstStyle/>
          <a:p>
            <a:pPr>
              <a:defRPr sz="1100"/>
            </a:pPr>
            <a:endParaRPr lang="en-US"/>
          </a:p>
        </c:txPr>
      </c:legendEntry>
      <c:legendEntry>
        <c:idx val="1"/>
        <c:delete val="1"/>
      </c:legendEntry>
      <c:legendEntry>
        <c:idx val="2"/>
        <c:txPr>
          <a:bodyPr/>
          <a:lstStyle/>
          <a:p>
            <a:pPr>
              <a:defRPr sz="1100"/>
            </a:pPr>
            <a:endParaRPr lang="en-US"/>
          </a:p>
        </c:txPr>
      </c:legendEntry>
      <c:legendEntry>
        <c:idx val="3"/>
        <c:delete val="1"/>
      </c:legendEntry>
      <c:layout>
        <c:manualLayout>
          <c:xMode val="edge"/>
          <c:yMode val="edge"/>
          <c:x val="7.0113394264293321E-3"/>
          <c:y val="0.2066115565480395"/>
          <c:w val="0.15312999207454561"/>
          <c:h val="0.49228042689498053"/>
        </c:manualLayout>
      </c:layout>
      <c:overlay val="0"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span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Categories val="1"/>
        <c14:dropZoneSeries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Chart in Microsoft PowerPoint]Sheet4!PivotTable1</c:name>
    <c:fmtId val="-1"/>
  </c:pivotSource>
  <c:chart>
    <c:autoTitleDeleted val="0"/>
    <c:pivotFmts>
      <c:pivotFmt>
        <c:idx val="0"/>
        <c:marker>
          <c:symbol val="none"/>
        </c:marker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32696492213671474"/>
          <c:y val="2.84789644012945E-2"/>
          <c:w val="0.63225748536812287"/>
          <c:h val="0.829387028984682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4!$B$1:$B$2</c:f>
              <c:strCache>
                <c:ptCount val="1"/>
                <c:pt idx="0">
                  <c:v>TUFTS </c:v>
                </c:pt>
              </c:strCache>
            </c:strRef>
          </c:tx>
          <c:spPr>
            <a:solidFill>
              <a:schemeClr val="accent5"/>
            </a:solidFill>
            <a:ln>
              <a:solidFill>
                <a:schemeClr val="accent1"/>
              </a:solidFill>
            </a:ln>
          </c:spPr>
          <c:invertIfNegative val="0"/>
          <c:dLbls>
            <c:dLbl>
              <c:idx val="6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gradFill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5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txPr>
              <a:bodyPr/>
              <a:lstStyle/>
              <a:p>
                <a:pPr>
                  <a:defRPr sz="11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4!$A$3:$A$16</c:f>
              <c:strCache>
                <c:ptCount val="13"/>
                <c:pt idx="0">
                  <c:v>BP: Dental </c:v>
                </c:pt>
                <c:pt idx="1">
                  <c:v>BP: Part C, Medicaid, and Supplemental</c:v>
                </c:pt>
                <c:pt idx="2">
                  <c:v>BP: Part D</c:v>
                </c:pt>
                <c:pt idx="3">
                  <c:v>Enrollment</c:v>
                </c:pt>
                <c:pt idx="4">
                  <c:v>MassHealth</c:v>
                </c:pt>
                <c:pt idx="5">
                  <c:v>Medicare</c:v>
                </c:pt>
                <c:pt idx="6">
                  <c:v>Network </c:v>
                </c:pt>
                <c:pt idx="7">
                  <c:v>Other</c:v>
                </c:pt>
                <c:pt idx="8">
                  <c:v>Plan Management </c:v>
                </c:pt>
                <c:pt idx="9">
                  <c:v>Plan Marketing Materials</c:v>
                </c:pt>
                <c:pt idx="10">
                  <c:v>Provider</c:v>
                </c:pt>
                <c:pt idx="11">
                  <c:v>Quality of Care</c:v>
                </c:pt>
                <c:pt idx="12">
                  <c:v>Transportation </c:v>
                </c:pt>
              </c:strCache>
            </c:strRef>
          </c:cat>
          <c:val>
            <c:numRef>
              <c:f>Sheet4!$B$3:$B$16</c:f>
              <c:numCache>
                <c:formatCode>0.00%</c:formatCode>
                <c:ptCount val="13"/>
                <c:pt idx="0">
                  <c:v>2.5862068965517241E-2</c:v>
                </c:pt>
                <c:pt idx="1">
                  <c:v>1.7241379310344827E-2</c:v>
                </c:pt>
                <c:pt idx="2">
                  <c:v>2.5862068965517241E-2</c:v>
                </c:pt>
                <c:pt idx="3">
                  <c:v>4.3103448275862068E-3</c:v>
                </c:pt>
                <c:pt idx="4">
                  <c:v>0</c:v>
                </c:pt>
                <c:pt idx="5">
                  <c:v>0</c:v>
                </c:pt>
                <c:pt idx="6">
                  <c:v>0.15948275862068967</c:v>
                </c:pt>
                <c:pt idx="7">
                  <c:v>0.10775862068965517</c:v>
                </c:pt>
                <c:pt idx="8">
                  <c:v>9.4827586206896547E-2</c:v>
                </c:pt>
                <c:pt idx="9">
                  <c:v>4.3103448275862068E-3</c:v>
                </c:pt>
                <c:pt idx="10">
                  <c:v>3.4482758620689655E-2</c:v>
                </c:pt>
                <c:pt idx="11">
                  <c:v>2.1551724137931036E-2</c:v>
                </c:pt>
                <c:pt idx="12">
                  <c:v>0.50431034482758619</c:v>
                </c:pt>
              </c:numCache>
            </c:numRef>
          </c:val>
        </c:ser>
        <c:ser>
          <c:idx val="1"/>
          <c:order val="1"/>
          <c:tx>
            <c:strRef>
              <c:f>Sheet4!$C$1:$C$2</c:f>
              <c:strCache>
                <c:ptCount val="1"/>
                <c:pt idx="0">
                  <c:v>CCA</c:v>
                </c:pt>
              </c:strCache>
            </c:strRef>
          </c:tx>
          <c:spPr>
            <a:solidFill>
              <a:schemeClr val="accent4"/>
            </a:solidFill>
          </c:spPr>
          <c:invertIfNegative val="0"/>
          <c:dLbls>
            <c:dLbl>
              <c:idx val="12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%" sourceLinked="0"/>
            <c:spPr>
              <a:gradFill rotWithShape="1">
                <a:gsLst>
                  <a:gs pos="0">
                    <a:schemeClr val="accent4">
                      <a:tint val="50000"/>
                      <a:satMod val="300000"/>
                    </a:schemeClr>
                  </a:gs>
                  <a:gs pos="35000">
                    <a:schemeClr val="accent4">
                      <a:tint val="37000"/>
                      <a:satMod val="300000"/>
                    </a:schemeClr>
                  </a:gs>
                  <a:gs pos="100000">
                    <a:schemeClr val="accent4">
                      <a:tint val="15000"/>
                      <a:satMod val="350000"/>
                    </a:schemeClr>
                  </a:gs>
                </a:gsLst>
                <a:lin ang="16200000" scaled="1"/>
              </a:gradFill>
              <a:ln w="9525" cap="flat" cmpd="sng" algn="ctr">
                <a:solidFill>
                  <a:schemeClr val="accent4">
                    <a:shade val="95000"/>
                    <a:satMod val="105000"/>
                  </a:schemeClr>
                </a:solidFill>
                <a:prstDash val="soli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txPr>
              <a:bodyPr/>
              <a:lstStyle/>
              <a:p>
                <a:pPr>
                  <a:defRPr sz="1100" b="1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4!$A$3:$A$16</c:f>
              <c:strCache>
                <c:ptCount val="13"/>
                <c:pt idx="0">
                  <c:v>BP: Dental </c:v>
                </c:pt>
                <c:pt idx="1">
                  <c:v>BP: Part C, Medicaid, and Supplemental</c:v>
                </c:pt>
                <c:pt idx="2">
                  <c:v>BP: Part D</c:v>
                </c:pt>
                <c:pt idx="3">
                  <c:v>Enrollment</c:v>
                </c:pt>
                <c:pt idx="4">
                  <c:v>MassHealth</c:v>
                </c:pt>
                <c:pt idx="5">
                  <c:v>Medicare</c:v>
                </c:pt>
                <c:pt idx="6">
                  <c:v>Network </c:v>
                </c:pt>
                <c:pt idx="7">
                  <c:v>Other</c:v>
                </c:pt>
                <c:pt idx="8">
                  <c:v>Plan Management </c:v>
                </c:pt>
                <c:pt idx="9">
                  <c:v>Plan Marketing Materials</c:v>
                </c:pt>
                <c:pt idx="10">
                  <c:v>Provider</c:v>
                </c:pt>
                <c:pt idx="11">
                  <c:v>Quality of Care</c:v>
                </c:pt>
                <c:pt idx="12">
                  <c:v>Transportation </c:v>
                </c:pt>
              </c:strCache>
            </c:strRef>
          </c:cat>
          <c:val>
            <c:numRef>
              <c:f>Sheet4!$C$3:$C$16</c:f>
              <c:numCache>
                <c:formatCode>0.00%</c:formatCode>
                <c:ptCount val="13"/>
                <c:pt idx="0">
                  <c:v>5.6100981767180924E-3</c:v>
                </c:pt>
                <c:pt idx="1">
                  <c:v>2.3375409069658717E-3</c:v>
                </c:pt>
                <c:pt idx="2">
                  <c:v>2.8050490883590462E-3</c:v>
                </c:pt>
                <c:pt idx="3">
                  <c:v>0</c:v>
                </c:pt>
                <c:pt idx="4">
                  <c:v>4.675081813931744E-4</c:v>
                </c:pt>
                <c:pt idx="5">
                  <c:v>0</c:v>
                </c:pt>
                <c:pt idx="6">
                  <c:v>6.5451145395044414E-3</c:v>
                </c:pt>
                <c:pt idx="7">
                  <c:v>7.9476390836839637E-3</c:v>
                </c:pt>
                <c:pt idx="8">
                  <c:v>8.2748948106591863E-2</c:v>
                </c:pt>
                <c:pt idx="9">
                  <c:v>0</c:v>
                </c:pt>
                <c:pt idx="10">
                  <c:v>4.3945769050958393E-2</c:v>
                </c:pt>
                <c:pt idx="11">
                  <c:v>3.5063113604488078E-2</c:v>
                </c:pt>
                <c:pt idx="12">
                  <c:v>0.8125292192613370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overlap val="-44"/>
        <c:axId val="91408256"/>
        <c:axId val="91409792"/>
      </c:barChart>
      <c:catAx>
        <c:axId val="91408256"/>
        <c:scaling>
          <c:orientation val="minMax"/>
        </c:scaling>
        <c:delete val="0"/>
        <c:axPos val="l"/>
        <c:majorGridlines/>
        <c:majorTickMark val="none"/>
        <c:minorTickMark val="none"/>
        <c:tickLblPos val="nextTo"/>
        <c:txPr>
          <a:bodyPr anchor="t" anchorCtr="1"/>
          <a:lstStyle/>
          <a:p>
            <a:pPr>
              <a:defRPr sz="1100"/>
            </a:pPr>
            <a:endParaRPr lang="en-US"/>
          </a:p>
        </c:txPr>
        <c:crossAx val="91409792"/>
        <c:crossesAt val="0"/>
        <c:auto val="1"/>
        <c:lblAlgn val="ctr"/>
        <c:lblOffset val="100"/>
        <c:noMultiLvlLbl val="0"/>
      </c:catAx>
      <c:valAx>
        <c:axId val="91409792"/>
        <c:scaling>
          <c:orientation val="minMax"/>
          <c:max val="0.9"/>
          <c:min val="0"/>
        </c:scaling>
        <c:delete val="0"/>
        <c:axPos val="t"/>
        <c:majorGridlines/>
        <c:numFmt formatCode="0%" sourceLinked="0"/>
        <c:majorTickMark val="none"/>
        <c:minorTickMark val="none"/>
        <c:tickLblPos val="low"/>
        <c:crossAx val="91408256"/>
        <c:crosses val="max"/>
        <c:crossBetween val="between"/>
        <c:majorUnit val="0.15000000000000002"/>
      </c:valAx>
    </c:plotArea>
    <c:legend>
      <c:legendPos val="r"/>
      <c:layout>
        <c:manualLayout>
          <c:xMode val="edge"/>
          <c:yMode val="edge"/>
          <c:x val="1.1887891137050674E-2"/>
          <c:y val="0.28014208081858855"/>
          <c:w val="8.2689827984412476E-2"/>
          <c:h val="0.28185881417869391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</c14:pivotOptions>
    </c:ext>
  </c:extLst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pivotSource>
    <c:name>[Chart in Microsoft PowerPoint]Sheet3!PivotTable1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  <c:dLbl>
          <c:idx val="0"/>
          <c:delete val="1"/>
        </c:dLbl>
      </c:pivotFmt>
      <c:pivotFmt>
        <c:idx val="3"/>
        <c:dLbl>
          <c:idx val="0"/>
          <c:delete val="1"/>
        </c:dLbl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3"/>
      </c:pivotFmt>
      <c:pivotFmt>
        <c:idx val="14"/>
      </c:pivotFmt>
      <c:pivotFmt>
        <c:idx val="15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  <c:spPr>
          <a:ln>
            <a:noFill/>
          </a:ln>
        </c:spPr>
        <c:marker>
          <c:symbol val="none"/>
        </c:marker>
      </c:pivotFmt>
      <c:pivotFmt>
        <c:idx val="27"/>
      </c:pivotFmt>
      <c:pivotFmt>
        <c:idx val="28"/>
      </c:pivotFmt>
      <c:pivotFmt>
        <c:idx val="29"/>
        <c:spPr>
          <a:ln>
            <a:noFill/>
          </a:ln>
        </c:spPr>
        <c:marker>
          <c:symbol val="none"/>
        </c:marker>
      </c:pivotFmt>
      <c:pivotFmt>
        <c:idx val="30"/>
        <c:dLbl>
          <c:idx val="0"/>
          <c:delete val="1"/>
        </c:dLbl>
      </c:pivotFmt>
      <c:pivotFmt>
        <c:idx val="31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2"/>
        <c:spPr>
          <a:ln>
            <a:noFill/>
          </a:ln>
        </c:spPr>
        <c:marker>
          <c:symbol val="none"/>
        </c:marker>
      </c:pivotFmt>
      <c:pivotFmt>
        <c:idx val="33"/>
        <c:dLbl>
          <c:idx val="0"/>
          <c:delete val="1"/>
        </c:dLbl>
      </c:pivotFmt>
      <c:pivotFmt>
        <c:idx val="34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5"/>
        <c:spPr>
          <a:ln>
            <a:noFill/>
          </a:ln>
        </c:spPr>
        <c:marker>
          <c:symbol val="none"/>
        </c:marker>
      </c:pivotFmt>
      <c:pivotFmt>
        <c:idx val="36"/>
        <c:dLbl>
          <c:idx val="0"/>
          <c:delete val="1"/>
        </c:dLbl>
      </c:pivotFmt>
      <c:pivotFmt>
        <c:idx val="37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8"/>
        <c:spPr>
          <a:ln>
            <a:noFill/>
          </a:ln>
        </c:spPr>
        <c:marker>
          <c:symbol val="none"/>
        </c:marker>
      </c:pivotFmt>
      <c:pivotFmt>
        <c:idx val="39"/>
        <c:dLbl>
          <c:idx val="0"/>
          <c:delete val="1"/>
        </c:dLbl>
      </c:pivotFmt>
      <c:pivotFmt>
        <c:idx val="40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41"/>
        <c:spPr>
          <a:ln>
            <a:noFill/>
          </a:ln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23320766081856747"/>
          <c:y val="4.1938316343568309E-2"/>
          <c:w val="0.76370143987021821"/>
          <c:h val="0.74393101918527493"/>
        </c:manualLayout>
      </c:layout>
      <c:lineChart>
        <c:grouping val="standard"/>
        <c:varyColors val="0"/>
        <c:ser>
          <c:idx val="0"/>
          <c:order val="0"/>
          <c:tx>
            <c:strRef>
              <c:f>Sheet3!$B$3:$B$5</c:f>
              <c:strCache>
                <c:ptCount val="1"/>
                <c:pt idx="0">
                  <c:v>CCA - % of membership</c:v>
                </c:pt>
              </c:strCache>
            </c:strRef>
          </c:tx>
          <c:spPr>
            <a:ln w="34925" cap="flat" cmpd="sng" algn="ctr">
              <a:solidFill>
                <a:srgbClr val="5E8BFF">
                  <a:shade val="50000"/>
                </a:srgbClr>
              </a:solidFill>
              <a:prstDash val="solid"/>
            </a:ln>
            <a:effectLst/>
          </c:spPr>
          <c:marker>
            <c:symbol val="diamond"/>
            <c:size val="10"/>
            <c:spPr>
              <a:solidFill>
                <a:srgbClr val="5E8BFF"/>
              </a:solidFill>
              <a:ln w="25400" cap="flat" cmpd="sng" algn="ctr">
                <a:solidFill>
                  <a:srgbClr val="5E8BFF">
                    <a:shade val="50000"/>
                  </a:srgbClr>
                </a:solidFill>
                <a:prstDash val="solid"/>
              </a:ln>
              <a:effectLst/>
            </c:spPr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B$6:$B$14</c:f>
              <c:numCache>
                <c:formatCode>0.00%</c:formatCode>
                <c:ptCount val="9"/>
                <c:pt idx="0">
                  <c:v>1.7891870867366783E-2</c:v>
                </c:pt>
                <c:pt idx="1">
                  <c:v>1.5378663313666699E-2</c:v>
                </c:pt>
                <c:pt idx="2">
                  <c:v>1.3225991949396205E-2</c:v>
                </c:pt>
                <c:pt idx="3">
                  <c:v>1.6415219660309326E-2</c:v>
                </c:pt>
                <c:pt idx="4">
                  <c:v>1.9556470478151025E-2</c:v>
                </c:pt>
                <c:pt idx="5">
                  <c:v>2.1286571642910729E-2</c:v>
                </c:pt>
                <c:pt idx="6">
                  <c:v>2.4846480869154464E-2</c:v>
                </c:pt>
                <c:pt idx="7">
                  <c:v>2.1608527131782945E-2</c:v>
                </c:pt>
                <c:pt idx="8">
                  <c:v>1.5857478465152702E-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3!$C$3:$C$5</c:f>
              <c:strCache>
                <c:ptCount val="1"/>
                <c:pt idx="0">
                  <c:v>CCA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C$6:$C$14</c:f>
              <c:numCache>
                <c:formatCode>0</c:formatCode>
                <c:ptCount val="9"/>
                <c:pt idx="0">
                  <c:v>184</c:v>
                </c:pt>
                <c:pt idx="1">
                  <c:v>159</c:v>
                </c:pt>
                <c:pt idx="2">
                  <c:v>138</c:v>
                </c:pt>
                <c:pt idx="3">
                  <c:v>173</c:v>
                </c:pt>
                <c:pt idx="4">
                  <c:v>209</c:v>
                </c:pt>
                <c:pt idx="5">
                  <c:v>227</c:v>
                </c:pt>
                <c:pt idx="6">
                  <c:v>263</c:v>
                </c:pt>
                <c:pt idx="7">
                  <c:v>223</c:v>
                </c:pt>
                <c:pt idx="8">
                  <c:v>16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3!$D$3:$D$5</c:f>
              <c:strCache>
                <c:ptCount val="1"/>
                <c:pt idx="0">
                  <c:v>TUFTS  - % of membership</c:v>
                </c:pt>
              </c:strCache>
            </c:strRef>
          </c:tx>
          <c:spPr>
            <a:ln w="34925" cap="flat" cmpd="sng" algn="ctr">
              <a:solidFill>
                <a:srgbClr val="FFCD33">
                  <a:shade val="50000"/>
                </a:srgbClr>
              </a:solidFill>
              <a:prstDash val="solid"/>
            </a:ln>
            <a:effectLst/>
          </c:spPr>
          <c:marker>
            <c:symbol val="triangle"/>
            <c:size val="10"/>
            <c:spPr>
              <a:solidFill>
                <a:srgbClr val="FFCD33"/>
              </a:solidFill>
              <a:ln w="25400" cap="flat" cmpd="sng" algn="ctr">
                <a:solidFill>
                  <a:srgbClr val="FFCD33">
                    <a:shade val="50000"/>
                  </a:srgbClr>
                </a:solidFill>
                <a:prstDash val="solid"/>
              </a:ln>
              <a:effectLst/>
            </c:spPr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D$6:$D$14</c:f>
              <c:numCache>
                <c:formatCode>0.00%</c:formatCode>
                <c:ptCount val="9"/>
                <c:pt idx="0">
                  <c:v>5.9076262083780882E-3</c:v>
                </c:pt>
                <c:pt idx="1">
                  <c:v>2.185792349726776E-3</c:v>
                </c:pt>
                <c:pt idx="2">
                  <c:v>6.6629650194336481E-3</c:v>
                </c:pt>
                <c:pt idx="3">
                  <c:v>5.6785917092561046E-3</c:v>
                </c:pt>
                <c:pt idx="4">
                  <c:v>9.7198399085191532E-3</c:v>
                </c:pt>
                <c:pt idx="5">
                  <c:v>8.1922446750409619E-3</c:v>
                </c:pt>
                <c:pt idx="6">
                  <c:v>9.1698841698841706E-3</c:v>
                </c:pt>
                <c:pt idx="7">
                  <c:v>7.331378299120235E-3</c:v>
                </c:pt>
                <c:pt idx="8">
                  <c:v>6.7665538907684874E-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3!$E$3:$E$5</c:f>
              <c:strCache>
                <c:ptCount val="1"/>
                <c:pt idx="0">
                  <c:v>TUFTS 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E$6:$E$14</c:f>
              <c:numCache>
                <c:formatCode>0</c:formatCode>
                <c:ptCount val="9"/>
                <c:pt idx="0">
                  <c:v>11</c:v>
                </c:pt>
                <c:pt idx="1">
                  <c:v>4</c:v>
                </c:pt>
                <c:pt idx="2">
                  <c:v>12</c:v>
                </c:pt>
                <c:pt idx="3">
                  <c:v>10</c:v>
                </c:pt>
                <c:pt idx="4">
                  <c:v>17</c:v>
                </c:pt>
                <c:pt idx="5">
                  <c:v>15</c:v>
                </c:pt>
                <c:pt idx="6">
                  <c:v>19</c:v>
                </c:pt>
                <c:pt idx="7">
                  <c:v>15</c:v>
                </c:pt>
                <c:pt idx="8">
                  <c:v>1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828608"/>
        <c:axId val="91830144"/>
      </c:lineChart>
      <c:catAx>
        <c:axId val="91828608"/>
        <c:scaling>
          <c:orientation val="minMax"/>
        </c:scaling>
        <c:delete val="0"/>
        <c:axPos val="b"/>
        <c:majorTickMark val="none"/>
        <c:minorTickMark val="none"/>
        <c:tickLblPos val="nextTo"/>
        <c:crossAx val="91830144"/>
        <c:crosses val="autoZero"/>
        <c:auto val="1"/>
        <c:lblAlgn val="ctr"/>
        <c:lblOffset val="100"/>
        <c:noMultiLvlLbl val="0"/>
      </c:catAx>
      <c:valAx>
        <c:axId val="91830144"/>
        <c:scaling>
          <c:orientation val="minMax"/>
          <c:max val="5.000000000000001E-2"/>
          <c:min val="0"/>
        </c:scaling>
        <c:delete val="0"/>
        <c:axPos val="l"/>
        <c:majorGridlines/>
        <c:numFmt formatCode="0.00%" sourceLinked="1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91828608"/>
        <c:crosses val="autoZero"/>
        <c:crossBetween val="between"/>
      </c:valAx>
      <c:dTable>
        <c:showHorzBorder val="1"/>
        <c:showVertBorder val="1"/>
        <c:showOutline val="1"/>
        <c:showKeys val="0"/>
        <c:spPr>
          <a:ln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 rtl="0"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</c:dTable>
      <c:spPr>
        <a:noFill/>
        <a:ln w="25400">
          <a:noFill/>
        </a:ln>
      </c:spPr>
    </c:plotArea>
    <c:legend>
      <c:legendPos val="l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"/>
          <c:y val="0.2066115565480395"/>
          <c:w val="0.15576893354555132"/>
          <c:h val="0.49228042689498053"/>
        </c:manualLayout>
      </c:layout>
      <c:overlay val="0"/>
      <c:txPr>
        <a:bodyPr/>
        <a:lstStyle/>
        <a:p>
          <a:pPr>
            <a:defRPr sz="1100" b="0">
              <a:latin typeface="Arial" panose="020B0604020202020204" pitchFamily="34" charset="0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span"/>
    <c:showDLblsOverMax val="0"/>
  </c:chart>
  <c:spPr>
    <a:ln>
      <a:noFill/>
    </a:ln>
  </c:spPr>
  <c:externalData r:id="rId2">
    <c:autoUpdate val="0"/>
  </c:externalData>
  <c:extLst>
    <c:ext xmlns:c14="http://schemas.microsoft.com/office/drawing/2007/8/2/chart" uri="{781A3756-C4B2-4CAC-9D66-4F8BD8637D16}">
      <c14:pivotOptions>
        <c14:dropZoneCategories val="1"/>
        <c14:dropZoneSeries val="1"/>
      </c14:pivotOptions>
    </c:ext>
  </c:extLst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pivotSource>
    <c:name>[Chart in Microsoft PowerPoint]Sheet3!PivotTable1</c:name>
    <c:fmtId val="49"/>
  </c:pivotSource>
  <c:chart>
    <c:autoTitleDeleted val="1"/>
    <c:pivotFmts>
      <c:pivotFmt>
        <c:idx val="0"/>
      </c:pivotFmt>
      <c:pivotFmt>
        <c:idx val="1"/>
      </c:pivotFmt>
      <c:pivotFmt>
        <c:idx val="2"/>
        <c:dLbl>
          <c:idx val="0"/>
          <c:delete val="1"/>
        </c:dLbl>
      </c:pivotFmt>
      <c:pivotFmt>
        <c:idx val="3"/>
        <c:dLbl>
          <c:idx val="0"/>
          <c:delete val="1"/>
        </c:dLbl>
      </c:pivotFmt>
      <c:pivotFmt>
        <c:idx val="4"/>
      </c:pivotFmt>
      <c:pivotFmt>
        <c:idx val="5"/>
      </c:pivotFmt>
      <c:pivotFmt>
        <c:idx val="6"/>
      </c:pivotFmt>
      <c:pivotFmt>
        <c:idx val="7"/>
      </c:pivotFmt>
      <c:pivotFmt>
        <c:idx val="8"/>
      </c:pivotFmt>
      <c:pivotFmt>
        <c:idx val="9"/>
      </c:pivotFmt>
      <c:pivotFmt>
        <c:idx val="10"/>
      </c:pivotFmt>
      <c:pivotFmt>
        <c:idx val="11"/>
      </c:pivotFmt>
      <c:pivotFmt>
        <c:idx val="12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3"/>
      </c:pivotFmt>
      <c:pivotFmt>
        <c:idx val="14"/>
      </c:pivotFmt>
      <c:pivotFmt>
        <c:idx val="15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16"/>
      </c:pivotFmt>
      <c:pivotFmt>
        <c:idx val="17"/>
      </c:pivotFmt>
      <c:pivotFmt>
        <c:idx val="18"/>
      </c:pivotFmt>
      <c:pivotFmt>
        <c:idx val="19"/>
      </c:pivotFmt>
      <c:pivotFmt>
        <c:idx val="20"/>
      </c:pivotFmt>
      <c:pivotFmt>
        <c:idx val="21"/>
      </c:pivotFmt>
      <c:pivotFmt>
        <c:idx val="22"/>
      </c:pivotFmt>
      <c:pivotFmt>
        <c:idx val="23"/>
      </c:pivotFmt>
      <c:pivotFmt>
        <c:idx val="24"/>
      </c:pivotFmt>
      <c:pivotFmt>
        <c:idx val="25"/>
      </c:pivotFmt>
      <c:pivotFmt>
        <c:idx val="26"/>
        <c:spPr>
          <a:ln>
            <a:noFill/>
          </a:ln>
        </c:spPr>
        <c:marker>
          <c:symbol val="none"/>
        </c:marker>
      </c:pivotFmt>
      <c:pivotFmt>
        <c:idx val="27"/>
      </c:pivotFmt>
      <c:pivotFmt>
        <c:idx val="28"/>
      </c:pivotFmt>
      <c:pivotFmt>
        <c:idx val="29"/>
        <c:spPr>
          <a:ln>
            <a:noFill/>
          </a:ln>
        </c:spPr>
        <c:marker>
          <c:symbol val="none"/>
        </c:marker>
      </c:pivotFmt>
      <c:pivotFmt>
        <c:idx val="30"/>
        <c:dLbl>
          <c:idx val="0"/>
          <c:delete val="1"/>
        </c:dLbl>
      </c:pivotFmt>
      <c:pivotFmt>
        <c:idx val="31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2"/>
        <c:spPr>
          <a:ln>
            <a:noFill/>
          </a:ln>
        </c:spPr>
        <c:marker>
          <c:symbol val="none"/>
        </c:marker>
      </c:pivotFmt>
      <c:pivotFmt>
        <c:idx val="33"/>
        <c:dLbl>
          <c:idx val="0"/>
          <c:delete val="1"/>
        </c:dLbl>
      </c:pivotFmt>
      <c:pivotFmt>
        <c:idx val="34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5"/>
        <c:spPr>
          <a:ln>
            <a:noFill/>
          </a:ln>
        </c:spPr>
        <c:marker>
          <c:symbol val="none"/>
        </c:marker>
      </c:pivotFmt>
      <c:pivotFmt>
        <c:idx val="36"/>
        <c:dLbl>
          <c:idx val="0"/>
          <c:delete val="1"/>
        </c:dLbl>
      </c:pivotFmt>
      <c:pivotFmt>
        <c:idx val="37"/>
        <c:dLbl>
          <c:idx val="0"/>
          <c:layout>
            <c:manualLayout>
              <c:x val="-3.7898368620367807E-2"/>
              <c:y val="-4.2105255402632887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38"/>
        <c:spPr>
          <a:ln>
            <a:noFill/>
          </a:ln>
        </c:spPr>
        <c:marker>
          <c:symbol val="none"/>
        </c:marker>
      </c:pivotFmt>
      <c:pivotFmt>
        <c:idx val="39"/>
        <c:dLbl>
          <c:idx val="0"/>
          <c:delete val="1"/>
        </c:dLbl>
      </c:pivotFmt>
      <c:pivotFmt>
        <c:idx val="40"/>
        <c:dLbl>
          <c:idx val="0"/>
          <c:layout>
            <c:manualLayout>
              <c:x val="-3.7510661472455908E-2"/>
              <c:y val="-3.7426893691229229E-2"/>
            </c:manualLayout>
          </c:layout>
          <c:showLegendKey val="0"/>
          <c:showVal val="1"/>
          <c:showCatName val="0"/>
          <c:showSerName val="0"/>
          <c:showPercent val="0"/>
          <c:showBubbleSize val="0"/>
        </c:dLbl>
      </c:pivotFmt>
      <c:pivotFmt>
        <c:idx val="41"/>
        <c:spPr>
          <a:ln>
            <a:noFill/>
          </a:ln>
        </c:spPr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24212515990988778"/>
          <c:y val="3.5245335936318525E-2"/>
          <c:w val="0.73785368975296139"/>
          <c:h val="0.75541141372341447"/>
        </c:manualLayout>
      </c:layout>
      <c:lineChart>
        <c:grouping val="standard"/>
        <c:varyColors val="0"/>
        <c:ser>
          <c:idx val="0"/>
          <c:order val="0"/>
          <c:tx>
            <c:strRef>
              <c:f>Sheet3!$B$3:$B$5</c:f>
              <c:strCache>
                <c:ptCount val="1"/>
                <c:pt idx="0">
                  <c:v>CCA - % of membership</c:v>
                </c:pt>
              </c:strCache>
            </c:strRef>
          </c:tx>
          <c:spPr>
            <a:ln w="34925" cap="flat" cmpd="sng" algn="ctr">
              <a:solidFill>
                <a:srgbClr val="5E8BFF">
                  <a:shade val="50000"/>
                </a:srgbClr>
              </a:solidFill>
              <a:prstDash val="solid"/>
            </a:ln>
            <a:effectLst/>
          </c:spPr>
          <c:marker>
            <c:symbol val="diamond"/>
            <c:size val="10"/>
            <c:spPr>
              <a:solidFill>
                <a:srgbClr val="5E8BFF"/>
              </a:solidFill>
              <a:ln w="25400" cap="flat" cmpd="sng" algn="ctr">
                <a:solidFill>
                  <a:srgbClr val="5E8BFF">
                    <a:shade val="50000"/>
                  </a:srgbClr>
                </a:solidFill>
                <a:prstDash val="solid"/>
              </a:ln>
              <a:effectLst/>
            </c:spPr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B$6:$B$14</c:f>
              <c:numCache>
                <c:formatCode>0.00%</c:formatCode>
                <c:ptCount val="9"/>
                <c:pt idx="0">
                  <c:v>0</c:v>
                </c:pt>
                <c:pt idx="1">
                  <c:v>1.9344230583228552E-4</c:v>
                </c:pt>
                <c:pt idx="2">
                  <c:v>1.9168104274487253E-4</c:v>
                </c:pt>
                <c:pt idx="3">
                  <c:v>9.4885662776354493E-5</c:v>
                </c:pt>
                <c:pt idx="4">
                  <c:v>4.6785814541031159E-4</c:v>
                </c:pt>
                <c:pt idx="5">
                  <c:v>0</c:v>
                </c:pt>
                <c:pt idx="6">
                  <c:v>2.8341993386868212E-4</c:v>
                </c:pt>
                <c:pt idx="7">
                  <c:v>0</c:v>
                </c:pt>
                <c:pt idx="8">
                  <c:v>9.788566953797964E-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3!$C$3:$C$5</c:f>
              <c:strCache>
                <c:ptCount val="1"/>
                <c:pt idx="0">
                  <c:v>CCA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Pt>
            <c:idx val="4"/>
            <c:bubble3D val="0"/>
          </c:dPt>
          <c:dPt>
            <c:idx val="5"/>
            <c:bubble3D val="0"/>
          </c:dPt>
          <c:dPt>
            <c:idx val="6"/>
            <c:bubble3D val="0"/>
          </c:dPt>
          <c:dPt>
            <c:idx val="7"/>
            <c:bubble3D val="0"/>
          </c:dPt>
          <c:dPt>
            <c:idx val="8"/>
            <c:bubble3D val="0"/>
          </c:dPt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C$6:$C$14</c:f>
              <c:numCache>
                <c:formatCode>0</c:formatCode>
                <c:ptCount val="9"/>
                <c:pt idx="0">
                  <c:v>0</c:v>
                </c:pt>
                <c:pt idx="1">
                  <c:v>2</c:v>
                </c:pt>
                <c:pt idx="2">
                  <c:v>2</c:v>
                </c:pt>
                <c:pt idx="3">
                  <c:v>1</c:v>
                </c:pt>
                <c:pt idx="4">
                  <c:v>5</c:v>
                </c:pt>
                <c:pt idx="5">
                  <c:v>0</c:v>
                </c:pt>
                <c:pt idx="6">
                  <c:v>3</c:v>
                </c:pt>
                <c:pt idx="7">
                  <c:v>0</c:v>
                </c:pt>
                <c:pt idx="8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3!$D$3:$D$5</c:f>
              <c:strCache>
                <c:ptCount val="1"/>
                <c:pt idx="0">
                  <c:v>TUFTS  - % of membership</c:v>
                </c:pt>
              </c:strCache>
            </c:strRef>
          </c:tx>
          <c:spPr>
            <a:ln w="34925" cap="flat" cmpd="sng" algn="ctr">
              <a:solidFill>
                <a:srgbClr val="FFCD33">
                  <a:shade val="50000"/>
                </a:srgbClr>
              </a:solidFill>
              <a:prstDash val="solid"/>
            </a:ln>
            <a:effectLst/>
          </c:spPr>
          <c:marker>
            <c:symbol val="triangle"/>
            <c:size val="10"/>
            <c:spPr>
              <a:solidFill>
                <a:srgbClr val="FFCD33"/>
              </a:solidFill>
              <a:ln w="25400" cap="flat" cmpd="sng" algn="ctr">
                <a:solidFill>
                  <a:srgbClr val="FFCD33">
                    <a:shade val="50000"/>
                  </a:srgbClr>
                </a:solidFill>
                <a:prstDash val="solid"/>
              </a:ln>
              <a:effectLst/>
            </c:spPr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D$6:$D$14</c:f>
              <c:numCache>
                <c:formatCode>0.00%</c:formatCode>
                <c:ptCount val="9"/>
                <c:pt idx="0">
                  <c:v>0</c:v>
                </c:pt>
                <c:pt idx="1">
                  <c:v>5.4644808743169399E-4</c:v>
                </c:pt>
                <c:pt idx="2">
                  <c:v>0</c:v>
                </c:pt>
                <c:pt idx="3">
                  <c:v>0</c:v>
                </c:pt>
                <c:pt idx="4">
                  <c:v>2.858776443682104E-3</c:v>
                </c:pt>
                <c:pt idx="5">
                  <c:v>2.1845985800109228E-3</c:v>
                </c:pt>
                <c:pt idx="6">
                  <c:v>5.3088803088803087E-3</c:v>
                </c:pt>
                <c:pt idx="7">
                  <c:v>4.3988269794721412E-3</c:v>
                </c:pt>
                <c:pt idx="8">
                  <c:v>3.3832769453842437E-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3!$E$3:$E$5</c:f>
              <c:strCache>
                <c:ptCount val="1"/>
                <c:pt idx="0">
                  <c:v>TUFTS  - # of Grievances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cat>
            <c:strRef>
              <c:f>Sheet3!$A$6:$A$14</c:f>
              <c:strCache>
                <c:ptCount val="9"/>
                <c:pt idx="0">
                  <c:v>April_15</c:v>
                </c:pt>
                <c:pt idx="1">
                  <c:v>May_15</c:v>
                </c:pt>
                <c:pt idx="2">
                  <c:v>June_15</c:v>
                </c:pt>
                <c:pt idx="3">
                  <c:v>July_15</c:v>
                </c:pt>
                <c:pt idx="4">
                  <c:v>Aug_15</c:v>
                </c:pt>
                <c:pt idx="5">
                  <c:v>Sept_15</c:v>
                </c:pt>
                <c:pt idx="6">
                  <c:v>Oct_15</c:v>
                </c:pt>
                <c:pt idx="7">
                  <c:v>Nov_15</c:v>
                </c:pt>
                <c:pt idx="8">
                  <c:v>Dec_15</c:v>
                </c:pt>
              </c:strCache>
            </c:strRef>
          </c:cat>
          <c:val>
            <c:numRef>
              <c:f>Sheet3!$E$6:$E$14</c:f>
              <c:numCache>
                <c:formatCode>0</c:formatCode>
                <c:ptCount val="9"/>
                <c:pt idx="0">
                  <c:v>0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5</c:v>
                </c:pt>
                <c:pt idx="5">
                  <c:v>4</c:v>
                </c:pt>
                <c:pt idx="6">
                  <c:v>11</c:v>
                </c:pt>
                <c:pt idx="7">
                  <c:v>9</c:v>
                </c:pt>
                <c:pt idx="8">
                  <c:v>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1884928"/>
        <c:axId val="91890816"/>
      </c:lineChart>
      <c:catAx>
        <c:axId val="91884928"/>
        <c:scaling>
          <c:orientation val="minMax"/>
        </c:scaling>
        <c:delete val="0"/>
        <c:axPos val="b"/>
        <c:majorTickMark val="none"/>
        <c:minorTickMark val="none"/>
        <c:tickLblPos val="nextTo"/>
        <c:crossAx val="91890816"/>
        <c:crosses val="autoZero"/>
        <c:auto val="1"/>
        <c:lblAlgn val="ctr"/>
        <c:lblOffset val="100"/>
        <c:noMultiLvlLbl val="0"/>
      </c:catAx>
      <c:valAx>
        <c:axId val="91890816"/>
        <c:scaling>
          <c:orientation val="minMax"/>
          <c:max val="5.000000000000001E-2"/>
          <c:min val="0"/>
        </c:scaling>
        <c:delete val="0"/>
        <c:axPos val="l"/>
        <c:majorGridlines/>
        <c:numFmt formatCode="0.00%" sourceLinked="1"/>
        <c:majorTickMark val="none"/>
        <c:minorTickMark val="none"/>
        <c:tickLblPos val="nextTo"/>
        <c:crossAx val="91884928"/>
        <c:crosses val="autoZero"/>
        <c:crossBetween val="between"/>
      </c:valAx>
      <c:dTable>
        <c:showHorzBorder val="1"/>
        <c:showVertBorder val="1"/>
        <c:showOutline val="1"/>
        <c:showKeys val="0"/>
        <c:spPr>
          <a:ln>
            <a:solidFill>
              <a:schemeClr val="bg1">
                <a:lumMod val="50000"/>
              </a:schemeClr>
            </a:solidFill>
          </a:ln>
        </c:spPr>
      </c:dTable>
    </c:plotArea>
    <c:legend>
      <c:legendPos val="l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7.0113394264293321E-3"/>
          <c:y val="0.2066115565480395"/>
          <c:w val="0.14135734830061686"/>
          <c:h val="0.49228042689498053"/>
        </c:manualLayout>
      </c:layout>
      <c:overlay val="0"/>
    </c:legend>
    <c:plotVisOnly val="1"/>
    <c:dispBlanksAs val="span"/>
    <c:showDLblsOverMax val="0"/>
  </c:chart>
  <c:spPr>
    <a:ln>
      <a:noFill/>
    </a:ln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  <c:extLst>
    <c:ext xmlns:c14="http://schemas.microsoft.com/office/drawing/2007/8/2/chart" uri="{781A3756-C4B2-4CAC-9D66-4F8BD8637D16}">
      <c14:pivotOptions>
        <c14:dropZoneCategories val="1"/>
        <c14:dropZoneSeries val="1"/>
      </c14:pivotOptions>
    </c:ext>
  </c:extLst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631</cdr:x>
      <cdr:y>0.90625</cdr:y>
    </cdr:from>
    <cdr:to>
      <cdr:x>0.45525</cdr:x>
      <cdr:y>0.98643</cdr:y>
    </cdr:to>
    <cdr:sp macro="" textlink="">
      <cdr:nvSpPr>
        <cdr:cNvPr id="2" name="Down Arrow 1"/>
        <cdr:cNvSpPr/>
      </cdr:nvSpPr>
      <cdr:spPr>
        <a:xfrm xmlns:a="http://schemas.openxmlformats.org/drawingml/2006/main" rot="10800000">
          <a:off x="3417279" y="4695825"/>
          <a:ext cx="411631" cy="41548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FF0000"/>
        </a:solidFill>
        <a:ln xmlns:a="http://schemas.openxmlformats.org/drawingml/2006/main" w="9525">
          <a:solidFill>
            <a:schemeClr val="accent6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8C7E0-9A7C-41FD-8C1A-ADB800251C8A}" type="datetimeFigureOut">
              <a:rPr lang="en-US" smtClean="0"/>
              <a:t>10/2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9A40-A947-4058-9BBC-75DCB89092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296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36" y="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r">
              <a:defRPr sz="1200"/>
            </a:lvl1pPr>
          </a:lstStyle>
          <a:p>
            <a:fld id="{1204CD42-A733-4650-B0B4-FFA0F165EE56}" type="datetimeFigureOut">
              <a:rPr lang="en-US" smtClean="0"/>
              <a:t>10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7" tIns="45618" rIns="91237" bIns="456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79" y="4473793"/>
            <a:ext cx="5608646" cy="3660373"/>
          </a:xfrm>
          <a:prstGeom prst="rect">
            <a:avLst/>
          </a:prstGeom>
        </p:spPr>
        <p:txBody>
          <a:bodyPr vert="horz" lIns="91237" tIns="45618" rIns="91237" bIns="45618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3032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36" y="883032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r">
              <a:defRPr sz="1200"/>
            </a:lvl1pPr>
          </a:lstStyle>
          <a:p>
            <a:fld id="{3024E1F4-4FEF-4A75-9A5A-52FED9225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20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47350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E71764-ED2E-4349-9B74-9F93E21193CB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085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20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2244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0577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/>
              <a:t>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4625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/>
              <a:t>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0532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6584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4673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E71764-ED2E-4349-9B74-9F93E21193CB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4673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0E71764-ED2E-4349-9B74-9F93E21193CB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070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5092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29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38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5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391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40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2/23/2016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79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619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2/23/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20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2/23/2016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05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2/23/2016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8679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2/23/2016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2/23/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172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59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364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5628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2.png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21" Type="http://schemas.openxmlformats.org/officeDocument/2006/relationships/tags" Target="../tags/tag3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slideLayout" Target="../slideLayouts/slideLayout12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image" Target="../media/image2.pn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3.v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670100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2" y="6565687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latin typeface="Arial"/>
                </a:rPr>
                <a:t>     </a:t>
              </a:r>
              <a:endParaRPr lang="en-US" sz="1600" dirty="0">
                <a:solidFill>
                  <a:srgbClr val="002060"/>
                </a:solidFill>
                <a:latin typeface="Arial"/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  <a:latin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99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0" r:id="rId3"/>
    <p:sldLayoutId id="2147483671" r:id="rId4"/>
    <p:sldLayoutId id="2147483673" r:id="rId5"/>
    <p:sldLayoutId id="2147483674" r:id="rId6"/>
    <p:sldLayoutId id="2147483702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02830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0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2" y="6565687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 smtClean="0">
                  <a:solidFill>
                    <a:srgbClr val="000000"/>
                  </a:solidFill>
                </a:rPr>
                <a:t>     </a:t>
              </a:r>
              <a:endParaRPr lang="en-US" sz="1600" dirty="0">
                <a:solidFill>
                  <a:srgbClr val="00206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2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7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mailto:OneCare@state.ma.us" TargetMode="External"/><Relationship Id="rId2" Type="http://schemas.openxmlformats.org/officeDocument/2006/relationships/hyperlink" Target="http://www.mass.gov/masshealth/onecare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3796" y="2648241"/>
            <a:ext cx="5826188" cy="507831"/>
          </a:xfrm>
        </p:spPr>
        <p:txBody>
          <a:bodyPr/>
          <a:lstStyle/>
          <a:p>
            <a:r>
              <a:rPr lang="en-US" smtClean="0"/>
              <a:t> 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95" y="306944"/>
            <a:ext cx="1820853" cy="95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54"/>
          <p:cNvSpPr txBox="1">
            <a:spLocks noChangeArrowheads="1"/>
          </p:cNvSpPr>
          <p:nvPr/>
        </p:nvSpPr>
        <p:spPr bwMode="auto">
          <a:xfrm>
            <a:off x="2693972" y="1602876"/>
            <a:ext cx="600552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33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</a:t>
            </a:r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: </a:t>
            </a:r>
          </a:p>
          <a:p>
            <a: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Council Meeting</a:t>
            </a:r>
            <a:br>
              <a:rPr lang="en-US" sz="2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auto">
          <a:xfrm>
            <a:off x="2693796" y="3847305"/>
            <a:ext cx="645001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400" kern="0" dirty="0">
                <a:solidFill>
                  <a:srgbClr val="002960"/>
                </a:solidFill>
              </a:rPr>
              <a:t>Executive Office of Health &amp; Human Services</a:t>
            </a:r>
            <a:endParaRPr lang="en-US" sz="2400" b="1" kern="0" dirty="0">
              <a:solidFill>
                <a:srgbClr val="002960"/>
              </a:solidFill>
            </a:endParaRPr>
          </a:p>
        </p:txBody>
      </p:sp>
      <p:sp>
        <p:nvSpPr>
          <p:cNvPr id="7" name="Date"/>
          <p:cNvSpPr txBox="1">
            <a:spLocks noChangeArrowheads="1"/>
          </p:cNvSpPr>
          <p:nvPr/>
        </p:nvSpPr>
        <p:spPr bwMode="auto">
          <a:xfrm>
            <a:off x="2693796" y="4472562"/>
            <a:ext cx="50371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>
                <a:solidFill>
                  <a:srgbClr val="002060"/>
                </a:solidFill>
              </a:rPr>
              <a:t>MassHealth Demonstration </a:t>
            </a:r>
            <a:br>
              <a:rPr lang="en-US" altLang="en-US" sz="2000" dirty="0">
                <a:solidFill>
                  <a:srgbClr val="002060"/>
                </a:solidFill>
              </a:rPr>
            </a:br>
            <a:r>
              <a:rPr lang="en-US" altLang="en-US" sz="2000" dirty="0">
                <a:solidFill>
                  <a:srgbClr val="002060"/>
                </a:solidFill>
              </a:rPr>
              <a:t>to Integrate Care for Dual Eligibl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Date"/>
          <p:cNvSpPr txBox="1">
            <a:spLocks noChangeArrowheads="1"/>
          </p:cNvSpPr>
          <p:nvPr/>
        </p:nvSpPr>
        <p:spPr bwMode="auto">
          <a:xfrm>
            <a:off x="2693795" y="5450729"/>
            <a:ext cx="5037137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 smtClean="0">
                <a:solidFill>
                  <a:srgbClr val="002060"/>
                </a:solidFill>
              </a:rPr>
              <a:t>April 15, 2016, </a:t>
            </a:r>
            <a:r>
              <a:rPr lang="en-US" altLang="en-US" sz="2000" dirty="0">
                <a:solidFill>
                  <a:srgbClr val="002060"/>
                </a:solidFill>
              </a:rPr>
              <a:t>1:00 PM – 3:00 PM</a:t>
            </a:r>
          </a:p>
          <a:p>
            <a:r>
              <a:rPr lang="en-US" sz="2000" dirty="0">
                <a:solidFill>
                  <a:srgbClr val="002060"/>
                </a:solidFill>
              </a:rPr>
              <a:t>Health Policy Commission</a:t>
            </a:r>
          </a:p>
          <a:p>
            <a:r>
              <a:rPr lang="en-US" sz="2000" dirty="0">
                <a:solidFill>
                  <a:srgbClr val="002060"/>
                </a:solidFill>
              </a:rPr>
              <a:t>50 Milk St., 8th Floor, Public Meeting Room</a:t>
            </a:r>
            <a:br>
              <a:rPr lang="en-US" sz="2000" dirty="0">
                <a:solidFill>
                  <a:srgbClr val="002060"/>
                </a:solidFill>
              </a:rPr>
            </a:br>
            <a:r>
              <a:rPr lang="en-US" sz="2000" dirty="0">
                <a:solidFill>
                  <a:srgbClr val="002060"/>
                </a:solidFill>
              </a:rPr>
              <a:t>Boston, </a:t>
            </a:r>
            <a:r>
              <a:rPr lang="en-US" sz="2000" dirty="0" smtClean="0">
                <a:solidFill>
                  <a:srgbClr val="002060"/>
                </a:solidFill>
              </a:rPr>
              <a:t>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25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3817686"/>
              </p:ext>
            </p:extLst>
          </p:nvPr>
        </p:nvGraphicFramePr>
        <p:xfrm>
          <a:off x="122663" y="1023582"/>
          <a:ext cx="8925803" cy="545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23081" y="191069"/>
            <a:ext cx="772463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 dirty="0" smtClean="0"/>
              <a:t>April 2015 – December 2015</a:t>
            </a:r>
          </a:p>
          <a:p>
            <a:pPr algn="ctr"/>
            <a:r>
              <a:rPr lang="en-US" sz="1900" b="1" dirty="0" smtClean="0"/>
              <a:t>Percentage of Plan Membership with Network Grievances</a:t>
            </a:r>
          </a:p>
        </p:txBody>
      </p:sp>
    </p:spTree>
    <p:extLst>
      <p:ext uri="{BB962C8B-B14F-4D97-AF65-F5344CB8AC3E}">
        <p14:creationId xmlns:p14="http://schemas.microsoft.com/office/powerpoint/2010/main" val="2607461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2075" y="234863"/>
            <a:ext cx="5972175" cy="292388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algn="ctr"/>
            <a:r>
              <a:rPr lang="en-US" dirty="0" smtClean="0"/>
              <a:t>MassHealth Grievance Oversight  Pro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3900" y="1190625"/>
            <a:ext cx="7504720" cy="4801314"/>
          </a:xfr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300" dirty="0" smtClean="0"/>
              <a:t>Currently plans report grievances directly to MassHealth on a monthly basis.</a:t>
            </a:r>
          </a:p>
          <a:p>
            <a:endParaRPr lang="en-US" sz="13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300" dirty="0" smtClean="0"/>
              <a:t>These Grievance Reports are circulated to a variety of One Care staff including:</a:t>
            </a:r>
          </a:p>
          <a:p>
            <a:pPr marL="752181" lvl="2" indent="-285750">
              <a:buFont typeface="Wingdings" panose="05000000000000000000" pitchFamily="2" charset="2"/>
              <a:buChar char="§"/>
            </a:pPr>
            <a:r>
              <a:rPr lang="en-US" sz="1300" dirty="0" smtClean="0"/>
              <a:t>MassHealth Leadership</a:t>
            </a:r>
          </a:p>
          <a:p>
            <a:pPr marL="752181" lvl="2" indent="-285750">
              <a:buFont typeface="Wingdings" panose="05000000000000000000" pitchFamily="2" charset="2"/>
              <a:buChar char="§"/>
            </a:pPr>
            <a:r>
              <a:rPr lang="en-US" sz="1300" dirty="0" smtClean="0"/>
              <a:t>MassHealth Contract Management</a:t>
            </a:r>
          </a:p>
          <a:p>
            <a:pPr marL="752181" lvl="2" indent="-285750">
              <a:buFont typeface="Wingdings" panose="05000000000000000000" pitchFamily="2" charset="2"/>
              <a:buChar char="§"/>
            </a:pPr>
            <a:r>
              <a:rPr lang="en-US" sz="1300" dirty="0" smtClean="0"/>
              <a:t>MassHealth Quality Staff</a:t>
            </a:r>
          </a:p>
          <a:p>
            <a:pPr marL="752181" lvl="2" indent="-285750">
              <a:buFont typeface="Wingdings" panose="05000000000000000000" pitchFamily="2" charset="2"/>
              <a:buChar char="§"/>
            </a:pPr>
            <a:r>
              <a:rPr lang="en-US" sz="1300" dirty="0" smtClean="0"/>
              <a:t>CMS Counterparts</a:t>
            </a:r>
          </a:p>
          <a:p>
            <a:pPr marL="752181" lvl="2" indent="-285750">
              <a:buFont typeface="Wingdings" panose="05000000000000000000" pitchFamily="2" charset="2"/>
              <a:buChar char="§"/>
            </a:pPr>
            <a:endParaRPr lang="en-US" sz="13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300" dirty="0" smtClean="0"/>
              <a:t>Staff review reports and identify any areas of concern, or questions they may have to further discuss with the plans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300" dirty="0" smtClean="0"/>
              <a:t>Areas of concern/questions are then sent to the plans and discussed during the bi-weekly contract management meeting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300" dirty="0" smtClean="0"/>
              <a:t>During bi-weekly contract management meetings, plans provide responses on the previously identified grievances concerns/ questions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1300" dirty="0"/>
          </a:p>
          <a:p>
            <a:pPr marL="285750" lvl="0" indent="-28575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n-US" sz="1300" dirty="0" smtClean="0">
                <a:solidFill>
                  <a:srgbClr val="000000"/>
                </a:solidFill>
              </a:rPr>
              <a:t>Additionally grievance data </a:t>
            </a:r>
            <a:r>
              <a:rPr lang="en-US" sz="1300" dirty="0">
                <a:solidFill>
                  <a:srgbClr val="000000"/>
                </a:solidFill>
              </a:rPr>
              <a:t>is </a:t>
            </a:r>
            <a:r>
              <a:rPr lang="en-US" sz="1300" dirty="0" smtClean="0">
                <a:solidFill>
                  <a:srgbClr val="000000"/>
                </a:solidFill>
              </a:rPr>
              <a:t>aggregated by quality staff </a:t>
            </a:r>
            <a:r>
              <a:rPr lang="en-US" sz="1300" dirty="0">
                <a:solidFill>
                  <a:srgbClr val="000000"/>
                </a:solidFill>
              </a:rPr>
              <a:t>and shared with the </a:t>
            </a:r>
            <a:r>
              <a:rPr lang="en-US" sz="1300" dirty="0" smtClean="0">
                <a:solidFill>
                  <a:srgbClr val="000000"/>
                </a:solidFill>
              </a:rPr>
              <a:t>plans, allowing plans to </a:t>
            </a:r>
          </a:p>
          <a:p>
            <a:pPr marL="752181" lvl="2" indent="-285750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rgbClr val="000000"/>
                </a:solidFill>
              </a:rPr>
              <a:t>Proactively </a:t>
            </a:r>
            <a:r>
              <a:rPr lang="en-US" sz="1300" dirty="0">
                <a:solidFill>
                  <a:srgbClr val="000000"/>
                </a:solidFill>
              </a:rPr>
              <a:t>identify areas of </a:t>
            </a:r>
            <a:r>
              <a:rPr lang="en-US" sz="1300" dirty="0" smtClean="0">
                <a:solidFill>
                  <a:srgbClr val="000000"/>
                </a:solidFill>
              </a:rPr>
              <a:t>concerns, and </a:t>
            </a:r>
            <a:endParaRPr lang="en-US" sz="1300" dirty="0">
              <a:solidFill>
                <a:srgbClr val="000000"/>
              </a:solidFill>
            </a:endParaRPr>
          </a:p>
          <a:p>
            <a:pPr marL="752181" lvl="2" indent="-285750">
              <a:buClr>
                <a:srgbClr val="000000"/>
              </a:buClr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rgbClr val="000000"/>
                </a:solidFill>
              </a:rPr>
              <a:t>I</a:t>
            </a:r>
            <a:r>
              <a:rPr lang="en-US" sz="1300" dirty="0" smtClean="0">
                <a:solidFill>
                  <a:srgbClr val="000000"/>
                </a:solidFill>
              </a:rPr>
              <a:t>mplement strategies to improve plan operations and member satisfaction </a:t>
            </a:r>
          </a:p>
          <a:p>
            <a:pPr marL="752181" lvl="2" indent="-285750">
              <a:buClr>
                <a:srgbClr val="000000"/>
              </a:buClr>
              <a:buFont typeface="Wingdings" panose="05000000000000000000" pitchFamily="2" charset="2"/>
              <a:buChar char="§"/>
            </a:pPr>
            <a:endParaRPr lang="en-US" sz="1300" dirty="0" smtClean="0">
              <a:solidFill>
                <a:srgbClr val="000000"/>
              </a:solidFill>
            </a:endParaRPr>
          </a:p>
          <a:p>
            <a:pPr marL="285750" indent="-285750">
              <a:buClr>
                <a:srgbClr val="000000"/>
              </a:buClr>
              <a:buFont typeface="Wingdings" panose="05000000000000000000" pitchFamily="2" charset="2"/>
              <a:buChar char="Ø"/>
            </a:pPr>
            <a:r>
              <a:rPr lang="en-US" sz="1300" dirty="0" smtClean="0">
                <a:solidFill>
                  <a:srgbClr val="000000"/>
                </a:solidFill>
              </a:rPr>
              <a:t>Plan responses illustrating past, previous, and current strategies are shown on the following slides. </a:t>
            </a:r>
            <a:endParaRPr lang="en-US" sz="13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450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963" y="76200"/>
            <a:ext cx="7881584" cy="609600"/>
          </a:xfrm>
        </p:spPr>
        <p:txBody>
          <a:bodyPr>
            <a:noAutofit/>
          </a:bodyPr>
          <a:lstStyle/>
          <a:p>
            <a:pPr lvl="0" algn="ctr">
              <a:lnSpc>
                <a:spcPct val="150000"/>
              </a:lnSpc>
              <a:tabLst/>
            </a:pPr>
            <a:r>
              <a:rPr lang="en-US" sz="2000" dirty="0" smtClean="0">
                <a:solidFill>
                  <a:schemeClr val="tx1"/>
                </a:solidFill>
                <a:ea typeface="+mn-ea"/>
                <a:cs typeface="+mn-cs"/>
              </a:rPr>
              <a:t>CCA’S Response to </a:t>
            </a:r>
            <a:r>
              <a:rPr lang="en-US" sz="2000" dirty="0" smtClean="0">
                <a:ea typeface="+mn-ea"/>
                <a:cs typeface="+mn-cs"/>
              </a:rPr>
              <a:t>Transportation</a:t>
            </a:r>
            <a:r>
              <a:rPr lang="en-US" sz="2000" dirty="0" smtClean="0">
                <a:solidFill>
                  <a:srgbClr val="FF0000"/>
                </a:solidFill>
                <a:ea typeface="+mn-ea"/>
                <a:cs typeface="+mn-cs"/>
              </a:rPr>
              <a:t> </a:t>
            </a:r>
            <a:r>
              <a:rPr lang="en-US" sz="2000" dirty="0" smtClean="0">
                <a:solidFill>
                  <a:schemeClr val="tx1"/>
                </a:solidFill>
                <a:ea typeface="+mn-ea"/>
                <a:cs typeface="+mn-cs"/>
              </a:rPr>
              <a:t>Grievance Data</a:t>
            </a:r>
            <a:endParaRPr lang="en-US" sz="2000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535" y="549321"/>
            <a:ext cx="2884333" cy="5906076"/>
          </a:xfr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ckground/Context</a:t>
            </a:r>
          </a:p>
          <a:p>
            <a:pPr algn="ctr">
              <a:lnSpc>
                <a:spcPct val="150000"/>
              </a:lnSpc>
            </a:pPr>
            <a:endParaRPr lang="en-US" sz="14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1%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CCA’s grievances are transportation relat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ation utilization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istently increasing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April 2016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erage is over 20,000 rides per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ievances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reasing each month despite steady increases in utilization. </a:t>
            </a:r>
            <a:endParaRPr lang="en-US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aints consistently remain less than 1% of trip volume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crease in complaints is attributed to numerous efforts and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 (see right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3 issues are: </a:t>
            </a:r>
            <a:endParaRPr lang="en-US" sz="14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/driver lateness</a:t>
            </a: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dor/driver no-shows</a:t>
            </a: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</a:t>
            </a:r>
            <a:r>
              <a:rPr lang="en-US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, including clerical </a:t>
            </a:r>
            <a:r>
              <a:rPr lang="en-US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rors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>
          <a:xfrm>
            <a:off x="3166280" y="679824"/>
            <a:ext cx="5977720" cy="5817793"/>
          </a:xfrm>
          <a:ln>
            <a:noFill/>
          </a:ln>
        </p:spPr>
        <p:txBody>
          <a:bodyPr>
            <a:noAutofit/>
          </a:bodyPr>
          <a:lstStyle/>
          <a:p>
            <a:pPr algn="ctr"/>
            <a:r>
              <a:rPr lang="en-US" sz="13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TIONS</a:t>
            </a:r>
          </a:p>
          <a:p>
            <a:r>
              <a:rPr lang="en-US" sz="13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ness</a:t>
            </a:r>
            <a:endParaRPr lang="en-US" sz="1300" b="1" u="sng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ed a one hour pick-up window for Boston and Greater Boston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erved immediate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in member satisfaction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nforced communications policy for vendors to notify CCA when they are late so CCA can call the member and provider offices as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priate</a:t>
            </a:r>
          </a:p>
          <a:p>
            <a:pPr marL="199204" lvl="2" indent="0">
              <a:buNone/>
            </a:pPr>
            <a:endParaRPr lang="en-US" sz="1300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3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-shows and Lateness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me of rides to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-show and late vendors</a:t>
            </a:r>
            <a:endParaRPr lang="en-US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with vendor to address issues impacting lateness,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-shows,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service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vendor meetings and regular communication to vendors via fax and email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sts</a:t>
            </a:r>
          </a:p>
          <a:p>
            <a:pPr marL="199204" lvl="2" indent="0">
              <a:buNone/>
            </a:pPr>
            <a:endParaRPr lang="en-US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None/>
            </a:pPr>
            <a:r>
              <a:rPr lang="en-US" sz="1300" b="1" u="sng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</a:t>
            </a:r>
            <a:endParaRPr lang="en-US" sz="1300" b="1" u="sng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trainings to address data entry errors that result in member complaints at CCA and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portation broker</a:t>
            </a:r>
            <a:endParaRPr lang="en-US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is held accountable for errors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de</a:t>
            </a:r>
          </a:p>
          <a:p>
            <a:pPr marL="199204" lvl="2" indent="0">
              <a:buNone/>
            </a:pPr>
            <a:endParaRPr lang="en-US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None/>
            </a:pPr>
            <a:r>
              <a:rPr lang="en-US" sz="130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s to Existing Operations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skills-based routing prompts within Transportation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ll-free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 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orts with member education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CA and broker leadership met in December 2015 to agree upon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ment strategies</a:t>
            </a:r>
          </a:p>
          <a:p>
            <a:pPr marL="199204" lvl="2" indent="0">
              <a:buNone/>
            </a:pPr>
            <a:endParaRPr lang="en-US" sz="13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indent="0">
              <a:buNone/>
            </a:pPr>
            <a:r>
              <a:rPr lang="en-US" sz="1300" b="1" u="sng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ons 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of portal for CCA staff: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ctly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dule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roker’s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l</a:t>
            </a:r>
          </a:p>
          <a:p>
            <a:pPr marL="292100" lvl="3" indent="-157163">
              <a:buFont typeface="Wingdings" panose="05000000000000000000" pitchFamily="2" charset="2"/>
              <a:buChar char="§"/>
            </a:pP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ing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active voice response solutions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Members to confirm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rides</a:t>
            </a:r>
          </a:p>
        </p:txBody>
      </p:sp>
    </p:spTree>
    <p:extLst>
      <p:ext uri="{BB962C8B-B14F-4D97-AF65-F5344CB8AC3E}">
        <p14:creationId xmlns:p14="http://schemas.microsoft.com/office/powerpoint/2010/main" val="3794089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270480" y="54591"/>
            <a:ext cx="8053675" cy="586853"/>
          </a:xfrm>
        </p:spPr>
        <p:txBody>
          <a:bodyPr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 smtClean="0">
                <a:solidFill>
                  <a:schemeClr val="tx1"/>
                </a:solidFill>
              </a:rPr>
              <a:t>Tufts’ Response to </a:t>
            </a:r>
            <a:r>
              <a:rPr lang="en-US" sz="2000" dirty="0" smtClean="0">
                <a:solidFill>
                  <a:schemeClr val="tx1"/>
                </a:solidFill>
              </a:rPr>
              <a:t>Network and Transportation </a:t>
            </a:r>
            <a:r>
              <a:rPr lang="en-US" sz="2000" b="1" dirty="0" smtClean="0">
                <a:solidFill>
                  <a:schemeClr val="tx1"/>
                </a:solidFill>
              </a:rPr>
              <a:t>Grievance Data </a:t>
            </a:r>
            <a:endParaRPr lang="en-US" sz="2000" b="1" dirty="0">
              <a:solidFill>
                <a:schemeClr val="tx1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half" idx="1"/>
          </p:nvPr>
        </p:nvSpPr>
        <p:spPr>
          <a:xfrm>
            <a:off x="136476" y="798394"/>
            <a:ext cx="4515735" cy="5602405"/>
          </a:xfr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3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TRANSPORTATION </a:t>
            </a:r>
          </a:p>
          <a:p>
            <a:pPr marL="0" indent="0" algn="ctr">
              <a:buNone/>
            </a:pPr>
            <a:endParaRPr lang="en-US" sz="1300" b="1" u="sng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Less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han 1%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US" sz="13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en-US" sz="13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des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result in a grievance. </a:t>
            </a: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Blip>
                <a:blip r:embed="rId3"/>
              </a:buBlip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In general, members complain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at:</a:t>
            </a: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3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eir </a:t>
            </a:r>
            <a:r>
              <a:rPr lang="en-US" sz="13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de was late for the scheduled pick </a:t>
            </a:r>
            <a:r>
              <a:rPr lang="en-US" sz="13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; </a:t>
            </a: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3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id not show; </a:t>
            </a:r>
            <a:r>
              <a:rPr lang="en-US" sz="1300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</a:t>
            </a:r>
            <a:endParaRPr lang="en-US" sz="13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752181" lvl="2" indent="-285750">
              <a:buFont typeface="Arial" panose="020B0604020202020204" pitchFamily="34" charset="0"/>
              <a:buChar char="•"/>
            </a:pPr>
            <a:r>
              <a:rPr lang="en-US" sz="13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some cases, members grieved that the transport showed up too early. </a:t>
            </a:r>
          </a:p>
          <a:p>
            <a:pPr marL="285750" lvl="1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Staff review all transportation grievances with contracted vendors to resolve the specific grievance, and identify opportunities for improvement. </a:t>
            </a: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In 2015, Tufts Health Plan enhanced the oversight function for transportation vendors, added multiple companies to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he network,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and ended a relationship with a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vendor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Despite increasing membership enrollment and utilization, Tufts Health Plan improved performance of its transportation network according to grievance trends. </a:t>
            </a:r>
            <a:endParaRPr lang="en-US" sz="13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Tufts Health Plan continues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o monitor transportation-related grievances and will implement additional changes as necessary in the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future.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4790363" y="798394"/>
            <a:ext cx="4203511" cy="5602405"/>
          </a:xfrm>
          <a:solidFill>
            <a:schemeClr val="accent4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1300" b="1" u="sng" dirty="0" smtClean="0"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</a:p>
          <a:p>
            <a:pPr marL="0" indent="0" algn="ctr">
              <a:buNone/>
            </a:pPr>
            <a:endParaRPr lang="en-US" sz="13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Network-related grievances were filed by 0.5% of members during the reporting period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ajority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of network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grievances received following FTC exit from One Care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ost often, members grieve that their PCP or specialist is not in network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Customer service and care management staff work individually with these members to identify in-network providers to satisfy their need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Tufts Health Plan's provider network meets or exceeds proximity access requirements for facilities and </a:t>
            </a: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rs. 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 smtClean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Fall 2015, Tufts Health Plan passed CMS's new network adequacy requirements for Medicare-Medicaid Plans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300" dirty="0">
                <a:latin typeface="Arial" panose="020B0604020202020204" pitchFamily="34" charset="0"/>
                <a:cs typeface="Arial" panose="020B0604020202020204" pitchFamily="34" charset="0"/>
              </a:rPr>
              <a:t>Membership and utilization patterns are consistently monitored against network adequacy requirements; if gaps are identified, Tufts Health Plan pursues contracts with relevant providers as expeditiously as possible. </a:t>
            </a:r>
          </a:p>
        </p:txBody>
      </p:sp>
    </p:spTree>
    <p:extLst>
      <p:ext uri="{BB962C8B-B14F-4D97-AF65-F5344CB8AC3E}">
        <p14:creationId xmlns:p14="http://schemas.microsoft.com/office/powerpoint/2010/main" val="68487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843457"/>
            <a:ext cx="7772400" cy="1500187"/>
          </a:xfrm>
        </p:spPr>
        <p:txBody>
          <a:bodyPr>
            <a:normAutofit/>
          </a:bodyPr>
          <a:lstStyle/>
          <a:p>
            <a:pPr algn="ctr"/>
            <a:r>
              <a:rPr lang="en-US" sz="2800" b="1" dirty="0" smtClean="0">
                <a:solidFill>
                  <a:srgbClr val="002060"/>
                </a:solidFill>
              </a:rPr>
              <a:t>QUESTIONS?</a:t>
            </a:r>
            <a:endParaRPr lang="en-US" sz="28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910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74333" y="2828836"/>
            <a:ext cx="846881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Font typeface="Arial" pitchFamily="34" charset="0"/>
              <a:buNone/>
            </a:pPr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it us </a:t>
            </a: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: </a:t>
            </a:r>
            <a:r>
              <a:rPr lang="en-US" altLang="en-US" sz="2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mass.gov/masshealth/onecare</a:t>
            </a: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Font typeface="Arial" pitchFamily="34" charset="0"/>
              <a:buNone/>
            </a:pP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buFont typeface="Arial" pitchFamily="34" charset="0"/>
              <a:buNone/>
            </a:pPr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ail us </a:t>
            </a: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: </a:t>
            </a:r>
            <a:r>
              <a:rPr lang="en-US" altLang="en-US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neCare@state.ma.us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098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8796659"/>
              </p:ext>
            </p:extLst>
          </p:nvPr>
        </p:nvGraphicFramePr>
        <p:xfrm>
          <a:off x="263832" y="874534"/>
          <a:ext cx="8273665" cy="5162691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566972"/>
                <a:gridCol w="1582748"/>
                <a:gridCol w="2589986"/>
                <a:gridCol w="1533959"/>
              </a:tblGrid>
              <a:tr h="279680">
                <a:tc gridSpan="4">
                  <a:txBody>
                    <a:bodyPr/>
                    <a:lstStyle/>
                    <a:p>
                      <a:pPr marL="0" marR="0" indent="0" algn="ctr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One Care Presentation</a:t>
                      </a:r>
                      <a:r>
                        <a:rPr lang="en-US" sz="1400" b="1" baseline="0" dirty="0" smtClean="0">
                          <a:solidFill>
                            <a:schemeClr val="bg2"/>
                          </a:solidFill>
                        </a:rPr>
                        <a:t> and Q &amp; A Events</a:t>
                      </a:r>
                      <a:endParaRPr lang="en-US" sz="1400" b="1" dirty="0" smtClean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968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Suffolk</a:t>
                      </a:r>
                      <a:r>
                        <a:rPr lang="en-US" sz="1400" b="1" baseline="0" dirty="0" smtClean="0">
                          <a:solidFill>
                            <a:srgbClr val="002060"/>
                          </a:solidFill>
                        </a:rPr>
                        <a:t> County</a:t>
                      </a:r>
                      <a:endParaRPr lang="en-US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Worcester County </a:t>
                      </a:r>
                      <a:endParaRPr lang="en-US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75456"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Event Loc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Number of Attendee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Event Loc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Number of Attendee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867009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Friday, April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 1, 2016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1-3pm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Codman Sq. Library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Dorchester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6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Wednesday, March 30, 2016 </a:t>
                      </a:r>
                    </a:p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12-2pm</a:t>
                      </a:r>
                    </a:p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Fitchburg Public Library</a:t>
                      </a:r>
                    </a:p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Fitchburg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7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279680">
                <a:tc gridSpan="4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2"/>
                          </a:solidFill>
                        </a:rPr>
                        <a:t>One Care Drop-in Events</a:t>
                      </a:r>
                      <a:endParaRPr lang="en-US" sz="1400" b="1" dirty="0">
                        <a:solidFill>
                          <a:schemeClr val="bg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79680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Suffolk</a:t>
                      </a:r>
                      <a:r>
                        <a:rPr lang="en-US" sz="1400" b="1" baseline="0" dirty="0" smtClean="0">
                          <a:solidFill>
                            <a:srgbClr val="002060"/>
                          </a:solidFill>
                        </a:rPr>
                        <a:t> County </a:t>
                      </a:r>
                      <a:endParaRPr lang="en-US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rgbClr val="002060"/>
                          </a:solidFill>
                        </a:rPr>
                        <a:t>Wor</a:t>
                      </a:r>
                      <a:r>
                        <a:rPr lang="en-US" sz="1400" b="1" baseline="0" dirty="0" smtClean="0">
                          <a:solidFill>
                            <a:srgbClr val="002060"/>
                          </a:solidFill>
                        </a:rPr>
                        <a:t>cester County</a:t>
                      </a:r>
                      <a:endParaRPr lang="en-US" sz="14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75456"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Event Loc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Number of Attendee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Event Loc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Number of Attendees*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</a:tr>
              <a:tr h="106278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Tuesday, April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 5, 2016 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9am – 12pm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Boston Health Care for the Homeless Program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Boston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20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eaLnBrk="1" fontAlgn="t" latinLnBrk="0" hangingPunct="1"/>
                      <a:r>
                        <a:rPr lang="en-US" sz="1200" u="none" strike="noStrike" kern="1200" dirty="0" smtClean="0">
                          <a:solidFill>
                            <a:srgbClr val="002060"/>
                          </a:solidFill>
                          <a:effectLst/>
                        </a:rPr>
                        <a:t>Friday, March 25,</a:t>
                      </a:r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2016 </a:t>
                      </a:r>
                    </a:p>
                    <a:p>
                      <a:pPr rtl="0" eaLnBrk="1" fontAlgn="t" latinLnBrk="0" hangingPunct="1"/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10am – 1pm</a:t>
                      </a:r>
                      <a:endParaRPr lang="en-US" sz="1200" u="none" strike="noStrike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rtl="0" eaLnBrk="1" fontAlgn="t" latinLnBrk="0" hangingPunct="1"/>
                      <a:r>
                        <a:rPr lang="en-US" sz="1200" u="none" strike="noStrike" kern="1200" dirty="0" smtClean="0">
                          <a:solidFill>
                            <a:srgbClr val="002060"/>
                          </a:solidFill>
                          <a:effectLst/>
                        </a:rPr>
                        <a:t>Jacob</a:t>
                      </a:r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Edwards Library</a:t>
                      </a:r>
                      <a:endParaRPr lang="en-US" sz="1200" u="none" strike="noStrike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rtl="0" eaLnBrk="1" fontAlgn="t" latinLnBrk="0" hangingPunct="1"/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Southbridge </a:t>
                      </a:r>
                      <a:endParaRPr lang="en-US" sz="1200" b="0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6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  <a:tr h="1062785"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Wednesday,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 April 13, 2016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 2-5pm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Whittier St. Health Center</a:t>
                      </a:r>
                    </a:p>
                    <a:p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</a:rPr>
                        <a:t>Roxbur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13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rtl="0" eaLnBrk="1" fontAlgn="t" latinLnBrk="0" hangingPunct="1"/>
                      <a:r>
                        <a:rPr lang="en-US" sz="1200" u="none" strike="noStrike" kern="1200" dirty="0" smtClean="0">
                          <a:solidFill>
                            <a:srgbClr val="002060"/>
                          </a:solidFill>
                          <a:effectLst/>
                        </a:rPr>
                        <a:t>Thursday, April 7,</a:t>
                      </a:r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 2016 </a:t>
                      </a:r>
                    </a:p>
                    <a:p>
                      <a:pPr rtl="0" eaLnBrk="1" fontAlgn="t" latinLnBrk="0" hangingPunct="1"/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3-6pm</a:t>
                      </a:r>
                      <a:endParaRPr lang="en-US" sz="1200" u="none" strike="noStrike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rtl="0" eaLnBrk="1" fontAlgn="t" latinLnBrk="0" hangingPunct="1"/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Edward M Kennedy Community Health Center</a:t>
                      </a:r>
                      <a:endParaRPr lang="en-US" sz="1200" u="none" strike="noStrike" kern="1200" dirty="0" smtClean="0">
                        <a:solidFill>
                          <a:srgbClr val="002060"/>
                        </a:solidFill>
                        <a:effectLst/>
                      </a:endParaRPr>
                    </a:p>
                    <a:p>
                      <a:pPr rtl="0" eaLnBrk="1" fontAlgn="t" latinLnBrk="0" hangingPunct="1"/>
                      <a:r>
                        <a:rPr lang="en-US" sz="1200" u="none" strike="noStrike" kern="1200" baseline="0" dirty="0" smtClean="0">
                          <a:solidFill>
                            <a:srgbClr val="002060"/>
                          </a:solidFill>
                          <a:effectLst/>
                        </a:rPr>
                        <a:t>Worcester </a:t>
                      </a:r>
                      <a:endParaRPr lang="en-US" sz="1200" b="0" i="0" u="none" strike="noStrike" kern="1200" dirty="0" smtClean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solidFill>
                            <a:srgbClr val="002060"/>
                          </a:solidFill>
                        </a:rPr>
                        <a:t>8</a:t>
                      </a:r>
                      <a:endParaRPr lang="en-US" sz="12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74945" y="234863"/>
            <a:ext cx="8053675" cy="430887"/>
          </a:xfrm>
        </p:spPr>
        <p:txBody>
          <a:bodyPr/>
          <a:lstStyle/>
          <a:p>
            <a:r>
              <a:rPr lang="en-US" sz="2800" dirty="0" smtClean="0">
                <a:solidFill>
                  <a:srgbClr val="002060"/>
                </a:solidFill>
              </a:rPr>
              <a:t>One Care Passive Round 6 Outreach Schedule</a:t>
            </a:r>
            <a:endParaRPr lang="en-US" sz="2800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925416" y="6161050"/>
            <a:ext cx="42382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002060"/>
                </a:solidFill>
              </a:rPr>
              <a:t>* Attendees refers to interested consumers and/or providers</a:t>
            </a:r>
            <a:endParaRPr lang="en-US" sz="1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191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4945" y="234863"/>
            <a:ext cx="8053675" cy="430887"/>
          </a:xfrm>
        </p:spPr>
        <p:txBody>
          <a:bodyPr/>
          <a:lstStyle/>
          <a:p>
            <a:r>
              <a:rPr lang="en-US" sz="2800" dirty="0" smtClean="0">
                <a:solidFill>
                  <a:srgbClr val="002060"/>
                </a:solidFill>
              </a:rPr>
              <a:t>Event Promotion</a:t>
            </a:r>
            <a:endParaRPr lang="en-US" sz="2800" dirty="0">
              <a:solidFill>
                <a:srgbClr val="002060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46536382"/>
              </p:ext>
            </p:extLst>
          </p:nvPr>
        </p:nvGraphicFramePr>
        <p:xfrm>
          <a:off x="328773" y="793006"/>
          <a:ext cx="8157681" cy="5733291"/>
        </p:xfrm>
        <a:graphic>
          <a:graphicData uri="http://schemas.openxmlformats.org/drawingml/2006/table">
            <a:tbl>
              <a:tblPr firstRow="1" firstCol="1" bandRow="1">
                <a:tableStyleId>{1E171933-4619-4E11-9A3F-F7608DF75F80}</a:tableStyleId>
              </a:tblPr>
              <a:tblGrid>
                <a:gridCol w="5517223"/>
                <a:gridCol w="2640458"/>
              </a:tblGrid>
              <a:tr h="23943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+mn-lt"/>
                        </a:rPr>
                        <a:t>Event</a:t>
                      </a:r>
                      <a:r>
                        <a:rPr lang="en-US" sz="1400" baseline="0" dirty="0" smtClean="0">
                          <a:effectLst/>
                          <a:latin typeface="+mn-lt"/>
                        </a:rPr>
                        <a:t> Promotion</a:t>
                      </a:r>
                      <a:endParaRPr lang="en-US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+mn-lt"/>
                        </a:rPr>
                        <a:t>Approximate # Contacted</a:t>
                      </a:r>
                      <a:endParaRPr lang="en-US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48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osted flyers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in/around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e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vent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h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st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s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ite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ed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t 6 site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4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tacted/shared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flyers with neighboring and community-based organization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Shared with 30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rganization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65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tacted and shared flyers with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some provider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organizations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in Tufts’ provider network who had members included in passive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enrollment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tacted 17 provider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rganization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4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 flyer to Shared Learning listserv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f One Care plan and provider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stakeholder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 to 3,835 providers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&amp; </a:t>
                      </a: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stakeholder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4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 One Care information and flyers at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statewide Brain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Injury Association of Massachusetts (BIA-MA)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ference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onference had about 850 participant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432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 flyers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through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Implementation Council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ember network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through 20 different Council Member</a:t>
                      </a: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network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062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ne Care Ombudsman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osted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event information to Facebook page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Post received about 95 click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093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assHealth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t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weeted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bout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events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on MassHealth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twitter account; events were retweeted</a:t>
                      </a:r>
                      <a:r>
                        <a:rPr lang="en-US" sz="1200" b="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by EOHHS, Mass.gov, Commonwealth Care Alliance, Tufts, some Community Health Centers, and other community twitter feed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assHealth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has about </a:t>
                      </a: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15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followers; EOHHS has about 4,765</a:t>
                      </a: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followers; and mass.gov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has about 71,400 follower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0352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Distributed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through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MassHealth Training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Forum (MTF) and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Assisters </a:t>
                      </a:r>
                      <a:r>
                        <a:rPr lang="en-US" sz="1200" b="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listservs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TF listserv has 5,586 subscribers; the Assisters list </a:t>
                      </a:r>
                      <a:r>
                        <a:rPr lang="en-US" sz="1200" baseline="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v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has about 2,017 (both including some internal staff as well). 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046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Distributed through One Care stakeholders list-</a:t>
                      </a:r>
                      <a:r>
                        <a:rPr lang="en-US" sz="1200" b="0" dirty="0" err="1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erv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ist-serve includes about </a:t>
                      </a:r>
                      <a:r>
                        <a:rPr lang="en-US" sz="1200" baseline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Times New Roman"/>
                        </a:rPr>
                        <a:t>35</a:t>
                      </a:r>
                      <a:r>
                        <a:rPr lang="en-US" sz="120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0 stakeholders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42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Event information distributed to SHINE and MassHealth Customer Service </a:t>
                      </a:r>
                      <a:r>
                        <a:rPr lang="en-US" sz="1200" b="0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Center (CSC) staff</a:t>
                      </a:r>
                      <a:endParaRPr lang="en-US" sz="1200" b="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N/A</a:t>
                      </a:r>
                      <a:endParaRPr lang="en-US" sz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0304" marR="2030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0716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986" y="144696"/>
            <a:ext cx="7870598" cy="841624"/>
          </a:xfrm>
        </p:spPr>
        <p:txBody>
          <a:bodyPr/>
          <a:lstStyle/>
          <a:p>
            <a:r>
              <a:rPr lang="en-US" sz="2800" dirty="0" smtClean="0">
                <a:solidFill>
                  <a:srgbClr val="002060"/>
                </a:solidFill>
              </a:rPr>
              <a:t>Quick Debrief on Passive Round 6 Outreach Strategies</a:t>
            </a:r>
            <a:br>
              <a:rPr lang="en-US" sz="2800" dirty="0" smtClean="0">
                <a:solidFill>
                  <a:srgbClr val="002060"/>
                </a:solidFill>
              </a:rPr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5986" y="1024850"/>
            <a:ext cx="8382000" cy="6924973"/>
          </a:xfrm>
        </p:spPr>
        <p:txBody>
          <a:bodyPr/>
          <a:lstStyle/>
          <a:p>
            <a:pPr lvl="1"/>
            <a:r>
              <a:rPr lang="en-US" sz="1400" b="0" dirty="0" smtClean="0">
                <a:solidFill>
                  <a:srgbClr val="002060"/>
                </a:solidFill>
              </a:rPr>
              <a:t>MassHealth hosted events in </a:t>
            </a:r>
            <a:r>
              <a:rPr lang="en-US" sz="1400" dirty="0" smtClean="0">
                <a:solidFill>
                  <a:srgbClr val="002060"/>
                </a:solidFill>
              </a:rPr>
              <a:t>areas</a:t>
            </a:r>
            <a:r>
              <a:rPr lang="en-US" sz="1400" b="0" dirty="0" smtClean="0">
                <a:solidFill>
                  <a:srgbClr val="002060"/>
                </a:solidFill>
              </a:rPr>
              <a:t> where concentrations of members included in passive enrollment live (as we did last time).</a:t>
            </a:r>
            <a:endParaRPr lang="en-US" sz="1400" dirty="0">
              <a:solidFill>
                <a:srgbClr val="002060"/>
              </a:solidFill>
            </a:endParaRPr>
          </a:p>
          <a:p>
            <a:pPr lvl="1"/>
            <a:endParaRPr lang="en-US" sz="1400" b="0" dirty="0" smtClean="0">
              <a:solidFill>
                <a:srgbClr val="002060"/>
              </a:solidFill>
            </a:endParaRPr>
          </a:p>
          <a:p>
            <a:pPr lvl="1"/>
            <a:r>
              <a:rPr lang="en-US" sz="1400" b="0" dirty="0" smtClean="0">
                <a:solidFill>
                  <a:srgbClr val="002060"/>
                </a:solidFill>
              </a:rPr>
              <a:t>We adjusted our outreach approach to include two different types of events:</a:t>
            </a:r>
            <a:endParaRPr lang="en-US" sz="1400" b="1" dirty="0" smtClean="0">
              <a:solidFill>
                <a:srgbClr val="002060"/>
              </a:solidFill>
            </a:endParaRPr>
          </a:p>
          <a:p>
            <a:pPr lvl="2"/>
            <a:r>
              <a:rPr lang="en-US" sz="1400" b="1" dirty="0" smtClean="0">
                <a:solidFill>
                  <a:srgbClr val="002060"/>
                </a:solidFill>
              </a:rPr>
              <a:t>Drop-in events </a:t>
            </a:r>
            <a:r>
              <a:rPr lang="en-US" sz="1400" dirty="0" smtClean="0">
                <a:solidFill>
                  <a:srgbClr val="002060"/>
                </a:solidFill>
              </a:rPr>
              <a:t>- MassHealth and the plans staffed tables at key providers and local community locations for 3 hour blocks, during which any interested members could stop by to ask questions.</a:t>
            </a:r>
            <a:endParaRPr lang="en-US" sz="1400" b="1" dirty="0" smtClean="0">
              <a:solidFill>
                <a:srgbClr val="002060"/>
              </a:solidFill>
            </a:endParaRPr>
          </a:p>
          <a:p>
            <a:pPr lvl="2"/>
            <a:r>
              <a:rPr lang="en-US" sz="1400" b="1" dirty="0" smtClean="0">
                <a:solidFill>
                  <a:srgbClr val="002060"/>
                </a:solidFill>
              </a:rPr>
              <a:t>One Care Presentation and Q &amp; A events</a:t>
            </a:r>
            <a:r>
              <a:rPr lang="en-US" sz="1400" dirty="0" smtClean="0">
                <a:solidFill>
                  <a:srgbClr val="002060"/>
                </a:solidFill>
              </a:rPr>
              <a:t>- similar format as used in December 2015, with presentations from each plan, and representatives from MassHealth, SHINE, and the OCO, as well as One Care members. </a:t>
            </a:r>
            <a:endParaRPr lang="en-US" sz="1400" b="0" dirty="0" smtClean="0">
              <a:solidFill>
                <a:srgbClr val="002060"/>
              </a:solidFill>
            </a:endParaRPr>
          </a:p>
          <a:p>
            <a:pPr lvl="1"/>
            <a:endParaRPr lang="en-US" sz="1400" b="0" dirty="0" smtClean="0">
              <a:solidFill>
                <a:srgbClr val="002060"/>
              </a:solidFill>
            </a:endParaRPr>
          </a:p>
          <a:p>
            <a:pPr lvl="1"/>
            <a:r>
              <a:rPr lang="en-US" sz="1400" b="0" dirty="0" smtClean="0">
                <a:solidFill>
                  <a:srgbClr val="002060"/>
                </a:solidFill>
              </a:rPr>
              <a:t>Each event included free snacks and giveaways.</a:t>
            </a:r>
          </a:p>
          <a:p>
            <a:pPr lvl="1"/>
            <a:endParaRPr lang="en-US" sz="1400" dirty="0">
              <a:solidFill>
                <a:srgbClr val="002060"/>
              </a:solidFill>
            </a:endParaRPr>
          </a:p>
          <a:p>
            <a:pPr lvl="1"/>
            <a:r>
              <a:rPr lang="en-US" sz="1400" dirty="0" smtClean="0">
                <a:solidFill>
                  <a:srgbClr val="002060"/>
                </a:solidFill>
              </a:rPr>
              <a:t>MassHealth sent </a:t>
            </a:r>
            <a:r>
              <a:rPr lang="en-US" sz="1400" dirty="0">
                <a:solidFill>
                  <a:srgbClr val="002060"/>
                </a:solidFill>
              </a:rPr>
              <a:t>flyers about the events to </a:t>
            </a:r>
            <a:r>
              <a:rPr lang="en-US" sz="1400" dirty="0" smtClean="0">
                <a:solidFill>
                  <a:srgbClr val="002060"/>
                </a:solidFill>
              </a:rPr>
              <a:t>passively enrolled members </a:t>
            </a:r>
            <a:r>
              <a:rPr lang="en-US" sz="1400" dirty="0">
                <a:solidFill>
                  <a:srgbClr val="002060"/>
                </a:solidFill>
              </a:rPr>
              <a:t>in both the 60 and 30-day notice packets, and sent one additional </a:t>
            </a:r>
            <a:r>
              <a:rPr lang="en-US" sz="1400" dirty="0" smtClean="0">
                <a:solidFill>
                  <a:srgbClr val="002060"/>
                </a:solidFill>
              </a:rPr>
              <a:t>mailing with just </a:t>
            </a:r>
            <a:r>
              <a:rPr lang="en-US" sz="1400" dirty="0">
                <a:solidFill>
                  <a:srgbClr val="002060"/>
                </a:solidFill>
              </a:rPr>
              <a:t>the event </a:t>
            </a:r>
            <a:r>
              <a:rPr lang="en-US" sz="1400" dirty="0" smtClean="0">
                <a:solidFill>
                  <a:srgbClr val="002060"/>
                </a:solidFill>
              </a:rPr>
              <a:t>flyers.</a:t>
            </a:r>
          </a:p>
          <a:p>
            <a:pPr lvl="1"/>
            <a:endParaRPr lang="en-US" sz="1400" dirty="0">
              <a:solidFill>
                <a:srgbClr val="002060"/>
              </a:solidFill>
            </a:endParaRPr>
          </a:p>
          <a:p>
            <a:pPr lvl="1"/>
            <a:r>
              <a:rPr lang="en-US" sz="1400" dirty="0" smtClean="0">
                <a:solidFill>
                  <a:srgbClr val="002060"/>
                </a:solidFill>
              </a:rPr>
              <a:t> </a:t>
            </a:r>
            <a:r>
              <a:rPr lang="en-US" sz="1400" dirty="0" err="1" smtClean="0">
                <a:solidFill>
                  <a:srgbClr val="002060"/>
                </a:solidFill>
              </a:rPr>
              <a:t>MassHealth</a:t>
            </a:r>
            <a:r>
              <a:rPr lang="en-US" sz="1400" dirty="0" smtClean="0">
                <a:solidFill>
                  <a:srgbClr val="002060"/>
                </a:solidFill>
              </a:rPr>
              <a:t>/UMMS worked with our stakeholder partners to significantly increased our event promotion activities (see previous slide).</a:t>
            </a:r>
            <a:endParaRPr lang="en-US" sz="1400" dirty="0">
              <a:solidFill>
                <a:srgbClr val="002060"/>
              </a:solidFill>
            </a:endParaRPr>
          </a:p>
          <a:p>
            <a:pPr lvl="1"/>
            <a:endParaRPr lang="en-US" sz="1400" dirty="0" smtClean="0">
              <a:solidFill>
                <a:srgbClr val="002060"/>
              </a:solidFill>
            </a:endParaRPr>
          </a:p>
          <a:p>
            <a:pPr lvl="1"/>
            <a:r>
              <a:rPr lang="en-US" sz="1400" dirty="0" smtClean="0">
                <a:solidFill>
                  <a:srgbClr val="002060"/>
                </a:solidFill>
              </a:rPr>
              <a:t>Lessons learned:</a:t>
            </a:r>
          </a:p>
          <a:p>
            <a:pPr lvl="2"/>
            <a:r>
              <a:rPr lang="en-US" sz="1400" dirty="0" smtClean="0">
                <a:solidFill>
                  <a:srgbClr val="002060"/>
                </a:solidFill>
              </a:rPr>
              <a:t>Holding drop-in events at locations with known, high numbers of potentially eligible members, and working with experienced partners such as Boston Health Care for the Homeless, seems to be a more promising practice to reach potentially eligible members than the targeted presentation and Q and A events.</a:t>
            </a:r>
          </a:p>
          <a:p>
            <a:pPr lvl="2"/>
            <a:r>
              <a:rPr lang="en-US" sz="1400" dirty="0" smtClean="0">
                <a:solidFill>
                  <a:srgbClr val="002060"/>
                </a:solidFill>
              </a:rPr>
              <a:t>We hope to have a more in-depth discussion with the Council on strategies to </a:t>
            </a:r>
            <a:r>
              <a:rPr lang="en-US" sz="1400" dirty="0">
                <a:solidFill>
                  <a:srgbClr val="002060"/>
                </a:solidFill>
              </a:rPr>
              <a:t>better engage members in informed decision making during the passive </a:t>
            </a:r>
            <a:r>
              <a:rPr lang="en-US" sz="1400" dirty="0" smtClean="0">
                <a:solidFill>
                  <a:srgbClr val="002060"/>
                </a:solidFill>
              </a:rPr>
              <a:t>process </a:t>
            </a:r>
            <a:r>
              <a:rPr lang="en-US" sz="1400" dirty="0">
                <a:solidFill>
                  <a:srgbClr val="002060"/>
                </a:solidFill>
              </a:rPr>
              <a:t>after this current round is </a:t>
            </a:r>
            <a:r>
              <a:rPr lang="en-US" sz="1400" dirty="0" smtClean="0">
                <a:solidFill>
                  <a:srgbClr val="002060"/>
                </a:solidFill>
              </a:rPr>
              <a:t>completed.</a:t>
            </a:r>
          </a:p>
          <a:p>
            <a:pPr lvl="2"/>
            <a:endParaRPr lang="en-US" sz="1400" dirty="0">
              <a:solidFill>
                <a:srgbClr val="002060"/>
              </a:solidFill>
            </a:endParaRPr>
          </a:p>
          <a:p>
            <a:pPr marL="1620" lvl="1" indent="0">
              <a:buNone/>
            </a:pPr>
            <a:endParaRPr lang="en-US" sz="1400" dirty="0" smtClean="0">
              <a:solidFill>
                <a:srgbClr val="002060"/>
              </a:solidFill>
            </a:endParaRPr>
          </a:p>
          <a:p>
            <a:pPr marL="0" indent="0">
              <a:buNone/>
            </a:pPr>
            <a:r>
              <a:rPr lang="en-US" sz="1400" dirty="0" smtClean="0">
                <a:solidFill>
                  <a:srgbClr val="002060"/>
                </a:solidFill>
              </a:rPr>
              <a:t/>
            </a:r>
            <a:br>
              <a:rPr lang="en-US" sz="1400" dirty="0" smtClean="0">
                <a:solidFill>
                  <a:srgbClr val="002060"/>
                </a:solidFill>
              </a:rPr>
            </a:br>
            <a:endParaRPr lang="en-US" sz="1400" dirty="0" smtClean="0">
              <a:solidFill>
                <a:srgbClr val="002060"/>
              </a:solidFill>
            </a:endParaRPr>
          </a:p>
          <a:p>
            <a:endParaRPr lang="en-US" sz="1400" dirty="0" smtClean="0">
              <a:solidFill>
                <a:srgbClr val="00206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809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778922" cy="533400"/>
          </a:xfrm>
          <a:noFill/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en-US" sz="2400" dirty="0" smtClean="0">
                <a:solidFill>
                  <a:schemeClr val="tx1"/>
                </a:solidFill>
              </a:rPr>
              <a:t>Definitions and Grievance Intake Process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0" y="2047876"/>
            <a:ext cx="2911522" cy="2590799"/>
          </a:xfrm>
          <a:solidFill>
            <a:schemeClr val="bg1"/>
          </a:solidFill>
          <a:ln>
            <a:solidFill>
              <a:schemeClr val="accent6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b="1" dirty="0" smtClean="0">
                <a:solidFill>
                  <a:schemeClr val="tx1"/>
                </a:solidFill>
              </a:rPr>
              <a:t>GRIEVANCE DEFINITION:</a:t>
            </a:r>
          </a:p>
          <a:p>
            <a:pPr marL="0" indent="0" algn="ctr">
              <a:buNone/>
            </a:pPr>
            <a:endParaRPr lang="en-US" sz="20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2000" i="1" dirty="0" smtClean="0">
                <a:solidFill>
                  <a:schemeClr val="tx1"/>
                </a:solidFill>
              </a:rPr>
              <a:t>Complaint surrounding any services provided by the health plan </a:t>
            </a:r>
          </a:p>
          <a:p>
            <a:pPr marL="457200" lvl="1" indent="0">
              <a:buNone/>
            </a:pPr>
            <a:endParaRPr lang="en-US" sz="2400" dirty="0" smtClean="0">
              <a:solidFill>
                <a:schemeClr val="tx1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endParaRPr lang="en-US" sz="2400" dirty="0">
              <a:latin typeface="Cambria" panose="02040503050406030204" pitchFamily="18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48259"/>
            <a:ext cx="5629275" cy="58090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3489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6478" y="66674"/>
            <a:ext cx="8106770" cy="553161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  <a:latin typeface="+mj-lt"/>
              </a:rPr>
              <a:t>GRIEVANCE CATEGORIES </a:t>
            </a:r>
            <a:r>
              <a:rPr lang="en-US" sz="2400" dirty="0" smtClean="0">
                <a:solidFill>
                  <a:schemeClr val="tx1"/>
                </a:solidFill>
                <a:latin typeface="+mj-lt"/>
              </a:rPr>
              <a:t> </a:t>
            </a:r>
            <a:endParaRPr lang="en-US" sz="2400" dirty="0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7008888"/>
              </p:ext>
            </p:extLst>
          </p:nvPr>
        </p:nvGraphicFramePr>
        <p:xfrm>
          <a:off x="257174" y="1574512"/>
          <a:ext cx="8629651" cy="4906377"/>
        </p:xfrm>
        <a:graphic>
          <a:graphicData uri="http://schemas.openxmlformats.org/drawingml/2006/table">
            <a:tbl>
              <a:tblPr firstRow="1" firstCol="1" bandRow="1"/>
              <a:tblGrid>
                <a:gridCol w="1815634"/>
                <a:gridCol w="4064115"/>
                <a:gridCol w="2749902"/>
              </a:tblGrid>
              <a:tr h="37981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ATEGORY</a:t>
                      </a:r>
                      <a:endParaRPr lang="en-US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DESCRIPTION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EXAMPLE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BP: </a:t>
                      </a: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Dental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with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ental services /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plan dental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restrictions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Upset</a:t>
                      </a: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dental implant was not approved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BP: </a:t>
                      </a: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Part C, Medicaid, </a:t>
                      </a:r>
                      <a:r>
                        <a:rPr lang="en-US" sz="115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Supplemental</a:t>
                      </a:r>
                      <a:endParaRPr lang="en-US" sz="115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with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lans </a:t>
                      </a: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covered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services/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plan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restrictions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Upset PCA services not approved</a:t>
                      </a:r>
                      <a:endParaRPr lang="en-US" sz="1150" dirty="0" smtClean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BP: </a:t>
                      </a: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Part D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with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the plans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covered prescription drugs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Upset brand name drugs not approved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Enrollment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the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enrollment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broker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Self-selected and placed in wrong plan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MassHealth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MassHealth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I</a:t>
                      </a: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correctly dis-enrolled from One Care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Medicare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services provided by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Medicare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eceived incorrect information from Medicare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effectLst/>
                          <a:latin typeface="+mj-lt"/>
                          <a:ea typeface="Calibri"/>
                          <a:cs typeface="Times New Roman"/>
                        </a:rPr>
                        <a:t>Network/Access </a:t>
                      </a:r>
                      <a:endParaRPr lang="en-US" sz="1150" dirty="0"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surrounding provider access/ availability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referred provider not in network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Other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Any grievance that does not fit into one of the pre-existing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categories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Plan Management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the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la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n oversight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Care Coordinator is unresponsive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Plan Marketing Materials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marketing </a:t>
                      </a: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materials received from the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lan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Too</a:t>
                      </a: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many materials sent</a:t>
                      </a:r>
                      <a:endParaRPr lang="en-US" sz="1150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Provider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a</a:t>
                      </a:r>
                      <a:r>
                        <a:rPr lang="en-US" sz="1150" baseline="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rovider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ude office manager at specialist’s office</a:t>
                      </a:r>
                      <a:endParaRPr lang="en-US" sz="1150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Quality of Care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with the quality of care received</a:t>
                      </a:r>
                      <a:endParaRPr lang="en-US" sz="115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Provided</a:t>
                      </a: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incorrect medication</a:t>
                      </a:r>
                      <a:endParaRPr lang="en-US" sz="1150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71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50" dirty="0">
                          <a:effectLst/>
                          <a:latin typeface="+mj-lt"/>
                          <a:ea typeface="Calibri"/>
                          <a:cs typeface="Times New Roman"/>
                        </a:rPr>
                        <a:t>Transportation</a:t>
                      </a: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Dissatisfaction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with </a:t>
                      </a:r>
                      <a:r>
                        <a:rPr lang="en-US" sz="115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transportation services </a:t>
                      </a:r>
                      <a:r>
                        <a:rPr lang="en-US" sz="115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Calibri"/>
                          <a:cs typeface="Times New Roman"/>
                        </a:rPr>
                        <a:t>provided</a:t>
                      </a:r>
                      <a:endParaRPr lang="en-US" sz="115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T</a:t>
                      </a: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ansportation</a:t>
                      </a:r>
                      <a:r>
                        <a:rPr lang="en-US" sz="1150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US" sz="115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no-shows/late arrivals</a:t>
                      </a:r>
                      <a:endParaRPr lang="en-US" sz="1150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38838" marR="3883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6675" y="840517"/>
            <a:ext cx="89535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</a:rPr>
              <a:t>Members may submit grievances to the One Care Ombudsman, MassHealth or CMS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2"/>
                </a:solidFill>
              </a:rPr>
              <a:t>Grievances are recorded electronically and grouped in the categories below</a:t>
            </a:r>
            <a:r>
              <a:rPr lang="en-US" sz="1600" dirty="0" smtClean="0">
                <a:solidFill>
                  <a:srgbClr val="FF0000"/>
                </a:solidFill>
              </a:rPr>
              <a:t>.</a:t>
            </a:r>
            <a:endParaRPr lang="en-US" sz="1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0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25738076"/>
              </p:ext>
            </p:extLst>
          </p:nvPr>
        </p:nvGraphicFramePr>
        <p:xfrm>
          <a:off x="89885" y="887104"/>
          <a:ext cx="8890342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174945" y="98385"/>
            <a:ext cx="8053675" cy="652242"/>
          </a:xfrm>
          <a:prstGeom prst="rect">
            <a:avLst/>
          </a:prstGeom>
        </p:spPr>
        <p:txBody>
          <a:bodyPr/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en-US" kern="0" dirty="0" smtClean="0"/>
              <a:t>April 2015 - December 2015</a:t>
            </a:r>
          </a:p>
          <a:p>
            <a:pPr algn="ctr"/>
            <a:r>
              <a:rPr lang="en-US" kern="0" dirty="0" smtClean="0"/>
              <a:t>Percentage of Plan Membership with Grievances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54738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52400" y="6139355"/>
            <a:ext cx="8896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i="1" dirty="0" smtClean="0">
                <a:solidFill>
                  <a:srgbClr val="FF0000"/>
                </a:solidFill>
              </a:rPr>
              <a:t>Data includes only grievances Q2 2015-Q4 2015.  Grievance data collected prior to  this period was not assigned to categories.</a:t>
            </a:r>
            <a:endParaRPr lang="en-US" sz="1200" i="1" dirty="0">
              <a:solidFill>
                <a:srgbClr val="FF000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0983619"/>
              </p:ext>
            </p:extLst>
          </p:nvPr>
        </p:nvGraphicFramePr>
        <p:xfrm>
          <a:off x="152400" y="866775"/>
          <a:ext cx="8896350" cy="51815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>
            <a:off x="4124186" y="5657851"/>
            <a:ext cx="2267228" cy="480003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INE CATEGORIES EXCEEDING 15% THRESHOLD</a:t>
            </a:r>
            <a:endParaRPr lang="en-US" sz="11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986211" y="752475"/>
            <a:ext cx="0" cy="455295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233223" y="95250"/>
            <a:ext cx="79678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April 2015 – December 2015 Grievances </a:t>
            </a:r>
          </a:p>
          <a:p>
            <a:pPr algn="ctr"/>
            <a:r>
              <a:rPr lang="en-US" b="1" dirty="0" smtClean="0"/>
              <a:t>Percentage </a:t>
            </a:r>
            <a:r>
              <a:rPr lang="en-US" b="1" dirty="0"/>
              <a:t>A</a:t>
            </a:r>
            <a:r>
              <a:rPr lang="en-US" b="1" dirty="0" smtClean="0"/>
              <a:t>mount of Total </a:t>
            </a:r>
            <a:r>
              <a:rPr lang="en-US" b="1" dirty="0"/>
              <a:t>G</a:t>
            </a:r>
            <a:r>
              <a:rPr lang="en-US" b="1" dirty="0" smtClean="0"/>
              <a:t>rievances by Category </a:t>
            </a:r>
          </a:p>
        </p:txBody>
      </p:sp>
    </p:spTree>
    <p:extLst>
      <p:ext uri="{BB962C8B-B14F-4D97-AF65-F5344CB8AC3E}">
        <p14:creationId xmlns:p14="http://schemas.microsoft.com/office/powerpoint/2010/main" val="134089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0444" y="2667000"/>
            <a:ext cx="1371600" cy="95410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rgbClr val="000000"/>
                </a:solidFill>
                <a:latin typeface="Cambria" panose="02040503050406030204" pitchFamily="18" charset="0"/>
              </a:rPr>
              <a:t> </a:t>
            </a:r>
            <a:endParaRPr lang="en-US" sz="1400" b="1" i="1" dirty="0">
              <a:solidFill>
                <a:srgbClr val="FF0000"/>
              </a:solidFill>
              <a:latin typeface="Cambria" panose="02040503050406030204" pitchFamily="18" charset="0"/>
            </a:endParaRPr>
          </a:p>
          <a:p>
            <a:endParaRPr lang="en-US" sz="1400" b="1" i="1" dirty="0" smtClean="0">
              <a:solidFill>
                <a:srgbClr val="C0C0C0">
                  <a:lumMod val="75000"/>
                </a:srgbClr>
              </a:solidFill>
              <a:latin typeface="Cambria" panose="02040503050406030204" pitchFamily="18" charset="0"/>
            </a:endParaRPr>
          </a:p>
          <a:p>
            <a:endParaRPr lang="en-US" sz="1400" b="1" i="1" dirty="0" smtClean="0">
              <a:solidFill>
                <a:srgbClr val="C0C0C0">
                  <a:lumMod val="75000"/>
                </a:srgbClr>
              </a:solidFill>
              <a:latin typeface="Cambria" panose="02040503050406030204" pitchFamily="18" charset="0"/>
            </a:endParaRPr>
          </a:p>
          <a:p>
            <a:r>
              <a:rPr lang="en-US" sz="1400" b="1" dirty="0" smtClean="0">
                <a:solidFill>
                  <a:srgbClr val="808080">
                    <a:lumMod val="75000"/>
                  </a:srgbClr>
                </a:solidFill>
                <a:latin typeface="Cambria" panose="02040503050406030204" pitchFamily="18" charset="0"/>
              </a:rPr>
              <a:t> 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72964055"/>
              </p:ext>
            </p:extLst>
          </p:nvPr>
        </p:nvGraphicFramePr>
        <p:xfrm>
          <a:off x="154257" y="996286"/>
          <a:ext cx="8812322" cy="53606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86855" y="150125"/>
            <a:ext cx="761066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00" b="1" dirty="0" smtClean="0"/>
              <a:t>April 2015 – December 2015 </a:t>
            </a:r>
          </a:p>
          <a:p>
            <a:pPr algn="ctr"/>
            <a:r>
              <a:rPr lang="en-US" sz="1900" b="1" dirty="0" smtClean="0"/>
              <a:t>Percentage of Plan Membership with Transportation Grievances</a:t>
            </a:r>
            <a:endParaRPr lang="en-US" sz="1900" b="1" dirty="0"/>
          </a:p>
        </p:txBody>
      </p:sp>
    </p:spTree>
    <p:extLst>
      <p:ext uri="{BB962C8B-B14F-4D97-AF65-F5344CB8AC3E}">
        <p14:creationId xmlns:p14="http://schemas.microsoft.com/office/powerpoint/2010/main" val="3012596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lexia Cesar\Documents\MassHealth\Final docs\2. Strategy reference deck\20160129 - MassHealth - Strategy reference deck - 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xecutive">
    <a:dk1>
      <a:sysClr val="windowText" lastClr="000000"/>
    </a:dk1>
    <a:lt1>
      <a:sysClr val="window" lastClr="FFFFFF"/>
    </a:lt1>
    <a:dk2>
      <a:srgbClr val="2F5897"/>
    </a:dk2>
    <a:lt2>
      <a:srgbClr val="E4E9EF"/>
    </a:lt2>
    <a:accent1>
      <a:srgbClr val="6076B4"/>
    </a:accent1>
    <a:accent2>
      <a:srgbClr val="9C5252"/>
    </a:accent2>
    <a:accent3>
      <a:srgbClr val="E68422"/>
    </a:accent3>
    <a:accent4>
      <a:srgbClr val="846648"/>
    </a:accent4>
    <a:accent5>
      <a:srgbClr val="63891F"/>
    </a:accent5>
    <a:accent6>
      <a:srgbClr val="758085"/>
    </a:accent6>
    <a:hlink>
      <a:srgbClr val="3399FF"/>
    </a:hlink>
    <a:folHlink>
      <a:srgbClr val="B2B2B2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xecutive">
    <a:dk1>
      <a:sysClr val="windowText" lastClr="000000"/>
    </a:dk1>
    <a:lt1>
      <a:sysClr val="window" lastClr="FFFFFF"/>
    </a:lt1>
    <a:dk2>
      <a:srgbClr val="2F5897"/>
    </a:dk2>
    <a:lt2>
      <a:srgbClr val="E4E9EF"/>
    </a:lt2>
    <a:accent1>
      <a:srgbClr val="6076B4"/>
    </a:accent1>
    <a:accent2>
      <a:srgbClr val="9C5252"/>
    </a:accent2>
    <a:accent3>
      <a:srgbClr val="E68422"/>
    </a:accent3>
    <a:accent4>
      <a:srgbClr val="846648"/>
    </a:accent4>
    <a:accent5>
      <a:srgbClr val="63891F"/>
    </a:accent5>
    <a:accent6>
      <a:srgbClr val="758085"/>
    </a:accent6>
    <a:hlink>
      <a:srgbClr val="3399FF"/>
    </a:hlink>
    <a:folHlink>
      <a:srgbClr val="B2B2B2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Executive">
    <a:dk1>
      <a:sysClr val="windowText" lastClr="000000"/>
    </a:dk1>
    <a:lt1>
      <a:sysClr val="window" lastClr="FFFFFF"/>
    </a:lt1>
    <a:dk2>
      <a:srgbClr val="2F5897"/>
    </a:dk2>
    <a:lt2>
      <a:srgbClr val="E4E9EF"/>
    </a:lt2>
    <a:accent1>
      <a:srgbClr val="6076B4"/>
    </a:accent1>
    <a:accent2>
      <a:srgbClr val="9C5252"/>
    </a:accent2>
    <a:accent3>
      <a:srgbClr val="E68422"/>
    </a:accent3>
    <a:accent4>
      <a:srgbClr val="846648"/>
    </a:accent4>
    <a:accent5>
      <a:srgbClr val="63891F"/>
    </a:accent5>
    <a:accent6>
      <a:srgbClr val="758085"/>
    </a:accent6>
    <a:hlink>
      <a:srgbClr val="3399FF"/>
    </a:hlink>
    <a:folHlink>
      <a:srgbClr val="B2B2B2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56</Words>
  <Application>Microsoft Office PowerPoint</Application>
  <PresentationFormat>On-screen Show (4:3)</PresentationFormat>
  <Paragraphs>267</Paragraphs>
  <Slides>15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8" baseType="lpstr">
      <vt:lpstr>SRM_CF_DG1140</vt:lpstr>
      <vt:lpstr>1_SRM_CF_DG1140</vt:lpstr>
      <vt:lpstr>think-cell Slide</vt:lpstr>
      <vt:lpstr> </vt:lpstr>
      <vt:lpstr>One Care Passive Round 6 Outreach Schedule</vt:lpstr>
      <vt:lpstr>Event Promotion</vt:lpstr>
      <vt:lpstr>Quick Debrief on Passive Round 6 Outreach Strategies       </vt:lpstr>
      <vt:lpstr>Definitions and Grievance Intake Proces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ssHealth Grievance Oversight  Process</vt:lpstr>
      <vt:lpstr>CCA’S Response to Transportation Grievance Data</vt:lpstr>
      <vt:lpstr>Tufts’ Response to Network and Transportation Grievance Data 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7:32:38Z</dcterms:created>
  <dcterms:modified xsi:type="dcterms:W3CDTF">2017-10-26T15:36:41Z</dcterms:modified>
</cp:coreProperties>
</file>